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ink/ink1.xml" ContentType="application/inkml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  <p:sldMasterId id="2147483678" r:id="rId6"/>
    <p:sldMasterId id="2147483725" r:id="rId7"/>
    <p:sldMasterId id="2147483738" r:id="rId8"/>
    <p:sldMasterId id="2147483752" r:id="rId9"/>
  </p:sldMasterIdLst>
  <p:notesMasterIdLst>
    <p:notesMasterId r:id="rId25"/>
  </p:notesMasterIdLst>
  <p:sldIdLst>
    <p:sldId id="520" r:id="rId10"/>
    <p:sldId id="2069" r:id="rId11"/>
    <p:sldId id="2107" r:id="rId12"/>
    <p:sldId id="578" r:id="rId13"/>
    <p:sldId id="2120" r:id="rId14"/>
    <p:sldId id="2121" r:id="rId15"/>
    <p:sldId id="2134" r:id="rId16"/>
    <p:sldId id="2125" r:id="rId17"/>
    <p:sldId id="2128" r:id="rId18"/>
    <p:sldId id="2130" r:id="rId19"/>
    <p:sldId id="2113" r:id="rId20"/>
    <p:sldId id="2165" r:id="rId21"/>
    <p:sldId id="2145" r:id="rId22"/>
    <p:sldId id="2146" r:id="rId23"/>
    <p:sldId id="2017" r:id="rId2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Rodriguez, Lauren" initials="RL" lastIdx="3" clrIdx="6">
    <p:extLst>
      <p:ext uri="{19B8F6BF-5375-455C-9EA6-DF929625EA0E}">
        <p15:presenceInfo xmlns:p15="http://schemas.microsoft.com/office/powerpoint/2012/main" userId="S::Lauren.Rodriguez@fda.gov::60e677b8-fee6-4679-a542-0a983c46e406" providerId="AD"/>
      </p:ext>
    </p:extLst>
  </p:cmAuthor>
  <p:cmAuthor id="1" name="Michele Ballinger" initials="MB" lastIdx="5" clrIdx="0">
    <p:extLst/>
  </p:cmAuthor>
  <p:cmAuthor id="8" name="Medina Torres, Jose" initials="MTJ" lastIdx="8" clrIdx="7">
    <p:extLst>
      <p:ext uri="{19B8F6BF-5375-455C-9EA6-DF929625EA0E}">
        <p15:presenceInfo xmlns:p15="http://schemas.microsoft.com/office/powerpoint/2012/main" userId="S::Jose.MedinaTorres@fda.gov::b9399673-32af-4959-967f-e71948f593ef" providerId="AD"/>
      </p:ext>
    </p:extLst>
  </p:cmAuthor>
  <p:cmAuthor id="2" name="Kyle Brand" initials="KB" lastIdx="4" clrIdx="1">
    <p:extLst/>
  </p:cmAuthor>
  <p:cmAuthor id="3" name="Patel, Bakul" initials="PB" lastIdx="1" clrIdx="2">
    <p:extLst>
      <p:ext uri="{19B8F6BF-5375-455C-9EA6-DF929625EA0E}">
        <p15:presenceInfo xmlns:p15="http://schemas.microsoft.com/office/powerpoint/2012/main" userId="S-1-5-21-1078081533-606747145-839522115-114226" providerId="AD"/>
      </p:ext>
    </p:extLst>
  </p:cmAuthor>
  <p:cmAuthor id="4" name="Saha, Anindita" initials="SA" lastIdx="12" clrIdx="3">
    <p:extLst>
      <p:ext uri="{19B8F6BF-5375-455C-9EA6-DF929625EA0E}">
        <p15:presenceInfo xmlns:p15="http://schemas.microsoft.com/office/powerpoint/2012/main" userId="S::AXS@fda.gov::ac35de7b-070a-45d0-9a2a-8a75920f577e" providerId="AD"/>
      </p:ext>
    </p:extLst>
  </p:cmAuthor>
  <p:cmAuthor id="5" name="McReynolds, Ju-Lie" initials="MJ" lastIdx="1" clrIdx="4">
    <p:extLst>
      <p:ext uri="{19B8F6BF-5375-455C-9EA6-DF929625EA0E}">
        <p15:presenceInfo xmlns:p15="http://schemas.microsoft.com/office/powerpoint/2012/main" userId="S::Ju-Lie.McReynolds@fda.gov::9ae0acca-8a18-4278-aea2-0d042a18eafb" providerId="AD"/>
      </p:ext>
    </p:extLst>
  </p:cmAuthor>
  <p:cmAuthor id="6" name="Nguyen, Mimi" initials="NM" lastIdx="5" clrIdx="5">
    <p:extLst>
      <p:ext uri="{19B8F6BF-5375-455C-9EA6-DF929625EA0E}">
        <p15:presenceInfo xmlns:p15="http://schemas.microsoft.com/office/powerpoint/2012/main" userId="S::Mimi.Nguyen@fda.gov::aef68883-ac21-402e-b19b-69834d230e0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BFF9"/>
    <a:srgbClr val="F7F9AB"/>
    <a:srgbClr val="FFC000"/>
    <a:srgbClr val="F8CDFD"/>
    <a:srgbClr val="9DC3E6"/>
    <a:srgbClr val="3A96DD"/>
    <a:srgbClr val="385723"/>
    <a:srgbClr val="404040"/>
    <a:srgbClr val="968768"/>
    <a:srgbClr val="BCA4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17" autoAdjust="0"/>
    <p:restoredTop sz="95373" autoAdjust="0"/>
  </p:normalViewPr>
  <p:slideViewPr>
    <p:cSldViewPr snapToGrid="0" snapToObjects="1">
      <p:cViewPr varScale="1">
        <p:scale>
          <a:sx n="110" d="100"/>
          <a:sy n="110" d="100"/>
        </p:scale>
        <p:origin x="330" y="108"/>
      </p:cViewPr>
      <p:guideLst>
        <p:guide orient="horz" pos="2160"/>
        <p:guide pos="3840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5" d="100"/>
          <a:sy n="65" d="100"/>
        </p:scale>
        <p:origin x="2347" y="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1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1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698B955-B60F-4D9C-89B8-12C2709D3907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7DC6437-3607-4513-8AB2-2652EFB28B13}">
      <dgm:prSet phldrT="[Text]" custT="1"/>
      <dgm:spPr>
        <a:xfrm rot="10800000">
          <a:off x="1687527" y="267"/>
          <a:ext cx="6131631" cy="57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 rtl="0"/>
          <a:r>
            <a:rPr kumimoji="0" lang="en-US" sz="2000" b="0" i="0" u="none" strike="noStrike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Used as a medical product</a:t>
          </a:r>
          <a:endParaRPr lang="en-US" sz="20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0A3535D0-7DFD-44BD-99DB-9539C740E4C9}" type="parTrans" cxnId="{C0025363-CBF7-4429-A176-3FC9581C554C}">
      <dgm:prSet/>
      <dgm:spPr/>
      <dgm:t>
        <a:bodyPr/>
        <a:lstStyle/>
        <a:p>
          <a:endParaRPr lang="en-US" sz="2400"/>
        </a:p>
      </dgm:t>
    </dgm:pt>
    <dgm:pt modelId="{CF42FDDE-2A48-431D-9103-C275FFDA543E}" type="sibTrans" cxnId="{C0025363-CBF7-4429-A176-3FC9581C554C}">
      <dgm:prSet/>
      <dgm:spPr/>
      <dgm:t>
        <a:bodyPr/>
        <a:lstStyle/>
        <a:p>
          <a:endParaRPr lang="en-US" sz="2400"/>
        </a:p>
      </dgm:t>
    </dgm:pt>
    <dgm:pt modelId="{D9CA9AC2-CFFE-4FED-B495-610AF5D6E77E}">
      <dgm:prSet custT="1"/>
      <dgm:spPr>
        <a:xfrm rot="10800000">
          <a:off x="1687527" y="735406"/>
          <a:ext cx="6131631" cy="57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 rtl="0"/>
          <a:r>
            <a:rPr kumimoji="0" lang="en-US" sz="2000" b="0" i="0" u="none" strike="noStrike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Incorporated into a medical product </a:t>
          </a:r>
          <a:br>
            <a:rPr kumimoji="0" lang="en-US" sz="2000" b="0" i="0" u="none" strike="noStrike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</a:br>
          <a:r>
            <a:rPr kumimoji="0" lang="en-US" sz="2000" b="0" i="0" u="none" strike="noStrike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(include a pharmacologic product)</a:t>
          </a:r>
        </a:p>
      </dgm:t>
    </dgm:pt>
    <dgm:pt modelId="{B93CB72D-11AD-498B-B35B-5113F375CA0F}" type="parTrans" cxnId="{631861DE-FD7A-4034-A7B7-BD0E22369EF7}">
      <dgm:prSet/>
      <dgm:spPr/>
      <dgm:t>
        <a:bodyPr/>
        <a:lstStyle/>
        <a:p>
          <a:endParaRPr lang="en-US" sz="2400"/>
        </a:p>
      </dgm:t>
    </dgm:pt>
    <dgm:pt modelId="{497BEAA0-B879-4AB8-B1AA-BD4A3259A370}" type="sibTrans" cxnId="{631861DE-FD7A-4034-A7B7-BD0E22369EF7}">
      <dgm:prSet/>
      <dgm:spPr/>
      <dgm:t>
        <a:bodyPr/>
        <a:lstStyle/>
        <a:p>
          <a:endParaRPr lang="en-US" sz="2400"/>
        </a:p>
      </dgm:t>
    </dgm:pt>
    <dgm:pt modelId="{BC34FF76-10BC-402B-A54F-A183F2EF202D}">
      <dgm:prSet custT="1"/>
      <dgm:spPr>
        <a:xfrm rot="10800000">
          <a:off x="1687527" y="1470545"/>
          <a:ext cx="6131631" cy="57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 rtl="0"/>
          <a:r>
            <a:rPr kumimoji="0" lang="en-US" sz="2000" b="0" i="0" u="none" strike="noStrike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Used to develop a medical product</a:t>
          </a:r>
        </a:p>
      </dgm:t>
    </dgm:pt>
    <dgm:pt modelId="{2FAC6E38-D035-4969-8388-9A3F81E2EB41}" type="parTrans" cxnId="{FEBA41DB-8479-46E4-B237-65DC5EE4AF23}">
      <dgm:prSet/>
      <dgm:spPr/>
      <dgm:t>
        <a:bodyPr/>
        <a:lstStyle/>
        <a:p>
          <a:endParaRPr lang="en-US" sz="2400"/>
        </a:p>
      </dgm:t>
    </dgm:pt>
    <dgm:pt modelId="{03F74C69-81A5-4369-960F-523EE9AE3DDD}" type="sibTrans" cxnId="{FEBA41DB-8479-46E4-B237-65DC5EE4AF23}">
      <dgm:prSet/>
      <dgm:spPr/>
      <dgm:t>
        <a:bodyPr/>
        <a:lstStyle/>
        <a:p>
          <a:endParaRPr lang="en-US" sz="2400"/>
        </a:p>
      </dgm:t>
    </dgm:pt>
    <dgm:pt modelId="{4836966E-2035-4C9A-87DF-7825733A7365}">
      <dgm:prSet custT="1"/>
      <dgm:spPr>
        <a:xfrm rot="10800000">
          <a:off x="1687527" y="2205685"/>
          <a:ext cx="6131631" cy="57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 rtl="0"/>
          <a:r>
            <a:rPr kumimoji="0" lang="en-US" sz="2000" b="0" i="0" u="none" strike="noStrike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Used to study a medical product</a:t>
          </a:r>
        </a:p>
      </dgm:t>
    </dgm:pt>
    <dgm:pt modelId="{4FB5A89A-6F36-4116-8BB7-2E5DDECD45A2}" type="parTrans" cxnId="{4A326A91-82A2-4BCF-A933-BA5C760F3753}">
      <dgm:prSet/>
      <dgm:spPr/>
      <dgm:t>
        <a:bodyPr/>
        <a:lstStyle/>
        <a:p>
          <a:endParaRPr lang="en-US" sz="2400"/>
        </a:p>
      </dgm:t>
    </dgm:pt>
    <dgm:pt modelId="{F9940E71-D31E-4884-A73C-966468E32CC4}" type="sibTrans" cxnId="{4A326A91-82A2-4BCF-A933-BA5C760F3753}">
      <dgm:prSet/>
      <dgm:spPr/>
      <dgm:t>
        <a:bodyPr/>
        <a:lstStyle/>
        <a:p>
          <a:endParaRPr lang="en-US" sz="2400"/>
        </a:p>
      </dgm:t>
    </dgm:pt>
    <dgm:pt modelId="{708041BA-4545-43C9-934F-CB72E982C2D1}">
      <dgm:prSet custT="1"/>
      <dgm:spPr>
        <a:xfrm rot="10800000">
          <a:off x="1687527" y="2940824"/>
          <a:ext cx="6131631" cy="57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 rtl="0"/>
          <a:r>
            <a:rPr kumimoji="0" lang="en-US" sz="2000" b="0" i="0" u="none" strike="noStrike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Used as a companion or adjunct to a medical product, </a:t>
          </a:r>
          <a:br>
            <a:rPr kumimoji="0" lang="en-US" sz="2000" b="0" i="0" u="none" strike="noStrike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</a:br>
          <a:r>
            <a:rPr kumimoji="0" lang="en-US" sz="2000" b="0" i="0" u="none" strike="noStrike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including diagnostics and therapeutics.</a:t>
          </a:r>
        </a:p>
      </dgm:t>
    </dgm:pt>
    <dgm:pt modelId="{28B6D46C-7BC2-47BF-B452-969940B95F61}" type="parTrans" cxnId="{D65B38D0-162B-465C-B7CF-6291CC27EEF2}">
      <dgm:prSet/>
      <dgm:spPr/>
      <dgm:t>
        <a:bodyPr/>
        <a:lstStyle/>
        <a:p>
          <a:endParaRPr lang="en-US" sz="2400"/>
        </a:p>
      </dgm:t>
    </dgm:pt>
    <dgm:pt modelId="{F127F44C-820F-494B-A974-85CE8C1B7CCD}" type="sibTrans" cxnId="{D65B38D0-162B-465C-B7CF-6291CC27EEF2}">
      <dgm:prSet/>
      <dgm:spPr/>
      <dgm:t>
        <a:bodyPr/>
        <a:lstStyle/>
        <a:p>
          <a:endParaRPr lang="en-US" sz="2400"/>
        </a:p>
      </dgm:t>
    </dgm:pt>
    <dgm:pt modelId="{806A19C9-CC82-48DC-828A-A583C2997D04}" type="pres">
      <dgm:prSet presAssocID="{0698B955-B60F-4D9C-89B8-12C2709D3907}" presName="linearFlow" presStyleCnt="0">
        <dgm:presLayoutVars>
          <dgm:dir/>
          <dgm:resizeHandles val="exact"/>
        </dgm:presLayoutVars>
      </dgm:prSet>
      <dgm:spPr/>
    </dgm:pt>
    <dgm:pt modelId="{236A4BE7-6D8F-4DF6-B6BE-5337E3FD3E88}" type="pres">
      <dgm:prSet presAssocID="{B7DC6437-3607-4513-8AB2-2652EFB28B13}" presName="composite" presStyleCnt="0"/>
      <dgm:spPr/>
    </dgm:pt>
    <dgm:pt modelId="{E8A7D144-63AF-44B4-B71F-3AB7CCC8855B}" type="pres">
      <dgm:prSet presAssocID="{B7DC6437-3607-4513-8AB2-2652EFB28B13}" presName="imgShp" presStyleLbl="fgImgPlace1" presStyleIdx="0" presStyleCnt="5"/>
      <dgm:spPr>
        <a:xfrm>
          <a:off x="1401339" y="267"/>
          <a:ext cx="572375" cy="572375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extLst>
        <a:ext uri="{E40237B7-FDA0-4F09-8148-C483321AD2D9}">
          <dgm14:cNvPr xmlns:dgm14="http://schemas.microsoft.com/office/drawing/2010/diagram" id="0" name="" descr="Image of a human heart model"/>
        </a:ext>
      </dgm:extLst>
    </dgm:pt>
    <dgm:pt modelId="{50572178-CCD1-4CE8-A321-40EF68D6E401}" type="pres">
      <dgm:prSet presAssocID="{B7DC6437-3607-4513-8AB2-2652EFB28B13}" presName="txShp" presStyleLbl="node1" presStyleIdx="0" presStyleCnt="5">
        <dgm:presLayoutVars>
          <dgm:bulletEnabled val="1"/>
        </dgm:presLayoutVars>
      </dgm:prSet>
      <dgm:spPr/>
    </dgm:pt>
    <dgm:pt modelId="{035FD116-521F-466B-AF1B-1DB4769D9326}" type="pres">
      <dgm:prSet presAssocID="{CF42FDDE-2A48-431D-9103-C275FFDA543E}" presName="spacing" presStyleCnt="0"/>
      <dgm:spPr/>
    </dgm:pt>
    <dgm:pt modelId="{F4344A08-F5FB-4E2E-9D1F-3177D5709CE7}" type="pres">
      <dgm:prSet presAssocID="{D9CA9AC2-CFFE-4FED-B495-610AF5D6E77E}" presName="composite" presStyleCnt="0"/>
      <dgm:spPr/>
    </dgm:pt>
    <dgm:pt modelId="{B5FCE01D-4B01-4D51-AD8F-2C8C81ADBAF0}" type="pres">
      <dgm:prSet presAssocID="{D9CA9AC2-CFFE-4FED-B495-610AF5D6E77E}" presName="imgShp" presStyleLbl="fgImgPlace1" presStyleIdx="1" presStyleCnt="5"/>
      <dgm:spPr>
        <a:xfrm>
          <a:off x="1401339" y="735406"/>
          <a:ext cx="572375" cy="572375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extLst>
        <a:ext uri="{E40237B7-FDA0-4F09-8148-C483321AD2D9}">
          <dgm14:cNvPr xmlns:dgm14="http://schemas.microsoft.com/office/drawing/2010/diagram" id="0" name="" descr="Image of a machine that is used to perform surgery"/>
        </a:ext>
      </dgm:extLst>
    </dgm:pt>
    <dgm:pt modelId="{539FB187-E06B-41FA-9883-38B90EBE60E0}" type="pres">
      <dgm:prSet presAssocID="{D9CA9AC2-CFFE-4FED-B495-610AF5D6E77E}" presName="txShp" presStyleLbl="node1" presStyleIdx="1" presStyleCnt="5">
        <dgm:presLayoutVars>
          <dgm:bulletEnabled val="1"/>
        </dgm:presLayoutVars>
      </dgm:prSet>
      <dgm:spPr/>
    </dgm:pt>
    <dgm:pt modelId="{F55FECFF-3453-49DB-8C63-363F29084101}" type="pres">
      <dgm:prSet presAssocID="{497BEAA0-B879-4AB8-B1AA-BD4A3259A370}" presName="spacing" presStyleCnt="0"/>
      <dgm:spPr/>
    </dgm:pt>
    <dgm:pt modelId="{736664B8-13E5-4D66-B8F8-79623A14943E}" type="pres">
      <dgm:prSet presAssocID="{BC34FF76-10BC-402B-A54F-A183F2EF202D}" presName="composite" presStyleCnt="0"/>
      <dgm:spPr/>
    </dgm:pt>
    <dgm:pt modelId="{25086332-909E-43DB-A7C5-A14EDBC8E474}" type="pres">
      <dgm:prSet presAssocID="{BC34FF76-10BC-402B-A54F-A183F2EF202D}" presName="imgShp" presStyleLbl="fgImgPlace1" presStyleIdx="2" presStyleCnt="5"/>
      <dgm:spPr>
        <a:xfrm>
          <a:off x="1401339" y="1470545"/>
          <a:ext cx="572375" cy="572375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extLst>
        <a:ext uri="{E40237B7-FDA0-4F09-8148-C483321AD2D9}">
          <dgm14:cNvPr xmlns:dgm14="http://schemas.microsoft.com/office/drawing/2010/diagram" id="0" name="" descr="Image of a human skull with veins visible"/>
        </a:ext>
      </dgm:extLst>
    </dgm:pt>
    <dgm:pt modelId="{EAA2A55D-C0A7-42D8-A567-87FA0D239E2E}" type="pres">
      <dgm:prSet presAssocID="{BC34FF76-10BC-402B-A54F-A183F2EF202D}" presName="txShp" presStyleLbl="node1" presStyleIdx="2" presStyleCnt="5">
        <dgm:presLayoutVars>
          <dgm:bulletEnabled val="1"/>
        </dgm:presLayoutVars>
      </dgm:prSet>
      <dgm:spPr/>
    </dgm:pt>
    <dgm:pt modelId="{855EC880-9CE1-4610-BF5E-DB502B3EE8FE}" type="pres">
      <dgm:prSet presAssocID="{03F74C69-81A5-4369-960F-523EE9AE3DDD}" presName="spacing" presStyleCnt="0"/>
      <dgm:spPr/>
    </dgm:pt>
    <dgm:pt modelId="{B0E57E05-5DB3-4C38-A8F4-95DA73E1331C}" type="pres">
      <dgm:prSet presAssocID="{4836966E-2035-4C9A-87DF-7825733A7365}" presName="composite" presStyleCnt="0"/>
      <dgm:spPr/>
    </dgm:pt>
    <dgm:pt modelId="{0B89D935-E704-445C-A3B2-28D4F05EF78A}" type="pres">
      <dgm:prSet presAssocID="{4836966E-2035-4C9A-87DF-7825733A7365}" presName="imgShp" presStyleLbl="fgImgPlace1" presStyleIdx="3" presStyleCnt="5"/>
      <dgm:spPr>
        <a:xfrm>
          <a:off x="1401339" y="2205685"/>
          <a:ext cx="572375" cy="572375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extLst>
        <a:ext uri="{E40237B7-FDA0-4F09-8148-C483321AD2D9}">
          <dgm14:cNvPr xmlns:dgm14="http://schemas.microsoft.com/office/drawing/2010/diagram" id="0" name="" descr="Image of atoms and molecules"/>
        </a:ext>
      </dgm:extLst>
    </dgm:pt>
    <dgm:pt modelId="{40578C09-B761-4694-BD02-786F37BDC2B8}" type="pres">
      <dgm:prSet presAssocID="{4836966E-2035-4C9A-87DF-7825733A7365}" presName="txShp" presStyleLbl="node1" presStyleIdx="3" presStyleCnt="5">
        <dgm:presLayoutVars>
          <dgm:bulletEnabled val="1"/>
        </dgm:presLayoutVars>
      </dgm:prSet>
      <dgm:spPr/>
    </dgm:pt>
    <dgm:pt modelId="{E3837114-97A3-441D-BF70-8BAF14F8957B}" type="pres">
      <dgm:prSet presAssocID="{F9940E71-D31E-4884-A73C-966468E32CC4}" presName="spacing" presStyleCnt="0"/>
      <dgm:spPr/>
    </dgm:pt>
    <dgm:pt modelId="{C582029D-189B-42B6-8792-9CB7B08DDB43}" type="pres">
      <dgm:prSet presAssocID="{708041BA-4545-43C9-934F-CB72E982C2D1}" presName="composite" presStyleCnt="0"/>
      <dgm:spPr/>
    </dgm:pt>
    <dgm:pt modelId="{941CDC40-2F20-4989-AE79-73419E0BE2B9}" type="pres">
      <dgm:prSet presAssocID="{708041BA-4545-43C9-934F-CB72E982C2D1}" presName="imgShp" presStyleLbl="fgImgPlace1" presStyleIdx="4" presStyleCnt="5"/>
      <dgm:spPr>
        <a:xfrm>
          <a:off x="1401339" y="2940824"/>
          <a:ext cx="572375" cy="572375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extLst>
        <a:ext uri="{E40237B7-FDA0-4F09-8148-C483321AD2D9}">
          <dgm14:cNvPr xmlns:dgm14="http://schemas.microsoft.com/office/drawing/2010/diagram" id="0" name="" descr="Image of a doctor using an ipad."/>
        </a:ext>
      </dgm:extLst>
    </dgm:pt>
    <dgm:pt modelId="{13735F45-2363-4C51-85FC-0F76DEA7D401}" type="pres">
      <dgm:prSet presAssocID="{708041BA-4545-43C9-934F-CB72E982C2D1}" presName="txShp" presStyleLbl="node1" presStyleIdx="4" presStyleCnt="5">
        <dgm:presLayoutVars>
          <dgm:bulletEnabled val="1"/>
        </dgm:presLayoutVars>
      </dgm:prSet>
      <dgm:spPr/>
    </dgm:pt>
  </dgm:ptLst>
  <dgm:cxnLst>
    <dgm:cxn modelId="{C0025363-CBF7-4429-A176-3FC9581C554C}" srcId="{0698B955-B60F-4D9C-89B8-12C2709D3907}" destId="{B7DC6437-3607-4513-8AB2-2652EFB28B13}" srcOrd="0" destOrd="0" parTransId="{0A3535D0-7DFD-44BD-99DB-9539C740E4C9}" sibTransId="{CF42FDDE-2A48-431D-9103-C275FFDA543E}"/>
    <dgm:cxn modelId="{04392948-8970-4CEB-83F0-824E4DBD8D8C}" type="presOf" srcId="{BC34FF76-10BC-402B-A54F-A183F2EF202D}" destId="{EAA2A55D-C0A7-42D8-A567-87FA0D239E2E}" srcOrd="0" destOrd="0" presId="urn:microsoft.com/office/officeart/2005/8/layout/vList3"/>
    <dgm:cxn modelId="{1DB88A8A-4EAE-48C5-A34A-C00249E5C986}" type="presOf" srcId="{0698B955-B60F-4D9C-89B8-12C2709D3907}" destId="{806A19C9-CC82-48DC-828A-A583C2997D04}" srcOrd="0" destOrd="0" presId="urn:microsoft.com/office/officeart/2005/8/layout/vList3"/>
    <dgm:cxn modelId="{4A326A91-82A2-4BCF-A933-BA5C760F3753}" srcId="{0698B955-B60F-4D9C-89B8-12C2709D3907}" destId="{4836966E-2035-4C9A-87DF-7825733A7365}" srcOrd="3" destOrd="0" parTransId="{4FB5A89A-6F36-4116-8BB7-2E5DDECD45A2}" sibTransId="{F9940E71-D31E-4884-A73C-966468E32CC4}"/>
    <dgm:cxn modelId="{7241D3A9-2A1C-4004-BEDD-42C6E2EE8A0B}" type="presOf" srcId="{D9CA9AC2-CFFE-4FED-B495-610AF5D6E77E}" destId="{539FB187-E06B-41FA-9883-38B90EBE60E0}" srcOrd="0" destOrd="0" presId="urn:microsoft.com/office/officeart/2005/8/layout/vList3"/>
    <dgm:cxn modelId="{F34F91CB-2746-4C3D-B534-27C442D20F29}" type="presOf" srcId="{4836966E-2035-4C9A-87DF-7825733A7365}" destId="{40578C09-B761-4694-BD02-786F37BDC2B8}" srcOrd="0" destOrd="0" presId="urn:microsoft.com/office/officeart/2005/8/layout/vList3"/>
    <dgm:cxn modelId="{D65B38D0-162B-465C-B7CF-6291CC27EEF2}" srcId="{0698B955-B60F-4D9C-89B8-12C2709D3907}" destId="{708041BA-4545-43C9-934F-CB72E982C2D1}" srcOrd="4" destOrd="0" parTransId="{28B6D46C-7BC2-47BF-B452-969940B95F61}" sibTransId="{F127F44C-820F-494B-A974-85CE8C1B7CCD}"/>
    <dgm:cxn modelId="{40CBA5D3-4FAB-43AF-B321-8E5C1185E6F2}" type="presOf" srcId="{708041BA-4545-43C9-934F-CB72E982C2D1}" destId="{13735F45-2363-4C51-85FC-0F76DEA7D401}" srcOrd="0" destOrd="0" presId="urn:microsoft.com/office/officeart/2005/8/layout/vList3"/>
    <dgm:cxn modelId="{FEBA41DB-8479-46E4-B237-65DC5EE4AF23}" srcId="{0698B955-B60F-4D9C-89B8-12C2709D3907}" destId="{BC34FF76-10BC-402B-A54F-A183F2EF202D}" srcOrd="2" destOrd="0" parTransId="{2FAC6E38-D035-4969-8388-9A3F81E2EB41}" sibTransId="{03F74C69-81A5-4369-960F-523EE9AE3DDD}"/>
    <dgm:cxn modelId="{631861DE-FD7A-4034-A7B7-BD0E22369EF7}" srcId="{0698B955-B60F-4D9C-89B8-12C2709D3907}" destId="{D9CA9AC2-CFFE-4FED-B495-610AF5D6E77E}" srcOrd="1" destOrd="0" parTransId="{B93CB72D-11AD-498B-B35B-5113F375CA0F}" sibTransId="{497BEAA0-B879-4AB8-B1AA-BD4A3259A370}"/>
    <dgm:cxn modelId="{A608B9E0-F06D-48CC-8651-5AD9F54F7C80}" type="presOf" srcId="{B7DC6437-3607-4513-8AB2-2652EFB28B13}" destId="{50572178-CCD1-4CE8-A321-40EF68D6E401}" srcOrd="0" destOrd="0" presId="urn:microsoft.com/office/officeart/2005/8/layout/vList3"/>
    <dgm:cxn modelId="{423047D8-527E-46BB-AADD-D75CD0136379}" type="presParOf" srcId="{806A19C9-CC82-48DC-828A-A583C2997D04}" destId="{236A4BE7-6D8F-4DF6-B6BE-5337E3FD3E88}" srcOrd="0" destOrd="0" presId="urn:microsoft.com/office/officeart/2005/8/layout/vList3"/>
    <dgm:cxn modelId="{013E97A4-7517-400F-8DBA-0E2C60479938}" type="presParOf" srcId="{236A4BE7-6D8F-4DF6-B6BE-5337E3FD3E88}" destId="{E8A7D144-63AF-44B4-B71F-3AB7CCC8855B}" srcOrd="0" destOrd="0" presId="urn:microsoft.com/office/officeart/2005/8/layout/vList3"/>
    <dgm:cxn modelId="{E55C9A9B-B223-4CF1-BE4C-6525DEB1EC42}" type="presParOf" srcId="{236A4BE7-6D8F-4DF6-B6BE-5337E3FD3E88}" destId="{50572178-CCD1-4CE8-A321-40EF68D6E401}" srcOrd="1" destOrd="0" presId="urn:microsoft.com/office/officeart/2005/8/layout/vList3"/>
    <dgm:cxn modelId="{C935A331-CAAD-4C20-B653-C69499FBB9D1}" type="presParOf" srcId="{806A19C9-CC82-48DC-828A-A583C2997D04}" destId="{035FD116-521F-466B-AF1B-1DB4769D9326}" srcOrd="1" destOrd="0" presId="urn:microsoft.com/office/officeart/2005/8/layout/vList3"/>
    <dgm:cxn modelId="{88586482-D24D-474F-A9E3-BDA890822306}" type="presParOf" srcId="{806A19C9-CC82-48DC-828A-A583C2997D04}" destId="{F4344A08-F5FB-4E2E-9D1F-3177D5709CE7}" srcOrd="2" destOrd="0" presId="urn:microsoft.com/office/officeart/2005/8/layout/vList3"/>
    <dgm:cxn modelId="{1D35FA24-6DFC-4EB9-9B09-EC1204AE0257}" type="presParOf" srcId="{F4344A08-F5FB-4E2E-9D1F-3177D5709CE7}" destId="{B5FCE01D-4B01-4D51-AD8F-2C8C81ADBAF0}" srcOrd="0" destOrd="0" presId="urn:microsoft.com/office/officeart/2005/8/layout/vList3"/>
    <dgm:cxn modelId="{39F5FAB0-8B35-40BE-9361-6B30340352F0}" type="presParOf" srcId="{F4344A08-F5FB-4E2E-9D1F-3177D5709CE7}" destId="{539FB187-E06B-41FA-9883-38B90EBE60E0}" srcOrd="1" destOrd="0" presId="urn:microsoft.com/office/officeart/2005/8/layout/vList3"/>
    <dgm:cxn modelId="{3615D56D-3734-45E1-BCA6-77740906DD0F}" type="presParOf" srcId="{806A19C9-CC82-48DC-828A-A583C2997D04}" destId="{F55FECFF-3453-49DB-8C63-363F29084101}" srcOrd="3" destOrd="0" presId="urn:microsoft.com/office/officeart/2005/8/layout/vList3"/>
    <dgm:cxn modelId="{71179DD3-0BB2-4911-BDDF-65ECA0BDDF1A}" type="presParOf" srcId="{806A19C9-CC82-48DC-828A-A583C2997D04}" destId="{736664B8-13E5-4D66-B8F8-79623A14943E}" srcOrd="4" destOrd="0" presId="urn:microsoft.com/office/officeart/2005/8/layout/vList3"/>
    <dgm:cxn modelId="{E4455F47-1250-44A4-A540-D0E920D1ACC4}" type="presParOf" srcId="{736664B8-13E5-4D66-B8F8-79623A14943E}" destId="{25086332-909E-43DB-A7C5-A14EDBC8E474}" srcOrd="0" destOrd="0" presId="urn:microsoft.com/office/officeart/2005/8/layout/vList3"/>
    <dgm:cxn modelId="{E55F7BAE-20AC-4B02-A671-0B697232591D}" type="presParOf" srcId="{736664B8-13E5-4D66-B8F8-79623A14943E}" destId="{EAA2A55D-C0A7-42D8-A567-87FA0D239E2E}" srcOrd="1" destOrd="0" presId="urn:microsoft.com/office/officeart/2005/8/layout/vList3"/>
    <dgm:cxn modelId="{E97B89FA-311B-4909-AA79-49C48F3B0931}" type="presParOf" srcId="{806A19C9-CC82-48DC-828A-A583C2997D04}" destId="{855EC880-9CE1-4610-BF5E-DB502B3EE8FE}" srcOrd="5" destOrd="0" presId="urn:microsoft.com/office/officeart/2005/8/layout/vList3"/>
    <dgm:cxn modelId="{AFA07219-7B0B-41D3-9A25-5B3074D46120}" type="presParOf" srcId="{806A19C9-CC82-48DC-828A-A583C2997D04}" destId="{B0E57E05-5DB3-4C38-A8F4-95DA73E1331C}" srcOrd="6" destOrd="0" presId="urn:microsoft.com/office/officeart/2005/8/layout/vList3"/>
    <dgm:cxn modelId="{74FA2EF6-4F61-4580-AA18-46CB8AA1CB6A}" type="presParOf" srcId="{B0E57E05-5DB3-4C38-A8F4-95DA73E1331C}" destId="{0B89D935-E704-445C-A3B2-28D4F05EF78A}" srcOrd="0" destOrd="0" presId="urn:microsoft.com/office/officeart/2005/8/layout/vList3"/>
    <dgm:cxn modelId="{7002D1DA-02C6-4F1E-A93A-3665055D2EE2}" type="presParOf" srcId="{B0E57E05-5DB3-4C38-A8F4-95DA73E1331C}" destId="{40578C09-B761-4694-BD02-786F37BDC2B8}" srcOrd="1" destOrd="0" presId="urn:microsoft.com/office/officeart/2005/8/layout/vList3"/>
    <dgm:cxn modelId="{19C17F30-57D4-4F5F-BE50-8C060D0691A6}" type="presParOf" srcId="{806A19C9-CC82-48DC-828A-A583C2997D04}" destId="{E3837114-97A3-441D-BF70-8BAF14F8957B}" srcOrd="7" destOrd="0" presId="urn:microsoft.com/office/officeart/2005/8/layout/vList3"/>
    <dgm:cxn modelId="{0B06BD98-7875-4AA0-B80F-6B55674E726C}" type="presParOf" srcId="{806A19C9-CC82-48DC-828A-A583C2997D04}" destId="{C582029D-189B-42B6-8792-9CB7B08DDB43}" srcOrd="8" destOrd="0" presId="urn:microsoft.com/office/officeart/2005/8/layout/vList3"/>
    <dgm:cxn modelId="{D9763992-9337-47E6-8245-8219EF18DCCD}" type="presParOf" srcId="{C582029D-189B-42B6-8792-9CB7B08DDB43}" destId="{941CDC40-2F20-4989-AE79-73419E0BE2B9}" srcOrd="0" destOrd="0" presId="urn:microsoft.com/office/officeart/2005/8/layout/vList3"/>
    <dgm:cxn modelId="{8A178361-9D00-47A6-94A4-8450033CD07B}" type="presParOf" srcId="{C582029D-189B-42B6-8792-9CB7B08DDB43}" destId="{13735F45-2363-4C51-85FC-0F76DEA7D401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8924255-C7D5-4228-A5E4-DF6E692476DF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DCCE4B3-0F28-40A0-83F9-3BDBFB39D854}">
      <dgm:prSet phldrT="[Text]" custT="1"/>
      <dgm:spPr/>
      <dgm:t>
        <a:bodyPr/>
        <a:lstStyle/>
        <a:p>
          <a:r>
            <a:rPr lang="en-US" sz="1600" noProof="0">
              <a:solidFill>
                <a:schemeClr val="tx1"/>
              </a:solidFill>
            </a:rPr>
            <a:t>DH Policy Development/ Support</a:t>
          </a:r>
          <a:endParaRPr lang="en-US" sz="1600" dirty="0">
            <a:solidFill>
              <a:schemeClr val="tx1"/>
            </a:solidFill>
          </a:endParaRPr>
        </a:p>
      </dgm:t>
    </dgm:pt>
    <dgm:pt modelId="{A3FF7D9A-7CA0-45C2-B094-F3B2CDF25FCD}" type="parTrans" cxnId="{DCA31ADC-AB0F-487B-8E1B-387D48AD150F}">
      <dgm:prSet/>
      <dgm:spPr/>
      <dgm:t>
        <a:bodyPr/>
        <a:lstStyle/>
        <a:p>
          <a:endParaRPr lang="en-US" sz="2000"/>
        </a:p>
      </dgm:t>
    </dgm:pt>
    <dgm:pt modelId="{3239E5B3-A088-4E4E-A973-C4A9ED4D9075}" type="sibTrans" cxnId="{DCA31ADC-AB0F-487B-8E1B-387D48AD150F}">
      <dgm:prSet/>
      <dgm:spPr/>
      <dgm:t>
        <a:bodyPr/>
        <a:lstStyle/>
        <a:p>
          <a:endParaRPr lang="en-US" sz="2000"/>
        </a:p>
      </dgm:t>
    </dgm:pt>
    <dgm:pt modelId="{FD55EB5B-2ED8-4C4D-9591-43470CAF5D9A}">
      <dgm:prSet phldrT="[Text]" custT="1"/>
      <dgm:spPr/>
      <dgm:t>
        <a:bodyPr/>
        <a:lstStyle/>
        <a:p>
          <a:r>
            <a:rPr lang="en-US" sz="1200" dirty="0"/>
            <a:t>Policy development and support</a:t>
          </a:r>
        </a:p>
      </dgm:t>
    </dgm:pt>
    <dgm:pt modelId="{EBBFE061-F0CC-49B0-BF31-624D7749AED4}" type="parTrans" cxnId="{3C8DDCA8-D88D-45AA-8778-5520073382B4}">
      <dgm:prSet/>
      <dgm:spPr/>
      <dgm:t>
        <a:bodyPr/>
        <a:lstStyle/>
        <a:p>
          <a:endParaRPr lang="en-US" sz="2000"/>
        </a:p>
      </dgm:t>
    </dgm:pt>
    <dgm:pt modelId="{072723CD-AD49-4EB0-9696-80029AD80CCF}" type="sibTrans" cxnId="{3C8DDCA8-D88D-45AA-8778-5520073382B4}">
      <dgm:prSet/>
      <dgm:spPr/>
      <dgm:t>
        <a:bodyPr/>
        <a:lstStyle/>
        <a:p>
          <a:endParaRPr lang="en-US" sz="2000"/>
        </a:p>
      </dgm:t>
    </dgm:pt>
    <dgm:pt modelId="{E0670893-314F-4D43-BD79-F75BD0C9DC38}">
      <dgm:prSet phldrT="[Text]" custT="1"/>
      <dgm:spPr/>
      <dgm:t>
        <a:bodyPr/>
        <a:lstStyle/>
        <a:p>
          <a:r>
            <a:rPr lang="en-US" sz="1600" noProof="0" dirty="0">
              <a:solidFill>
                <a:schemeClr val="tx1"/>
              </a:solidFill>
            </a:rPr>
            <a:t>DH Technology Support</a:t>
          </a:r>
          <a:endParaRPr lang="en-US" sz="1600" dirty="0">
            <a:solidFill>
              <a:schemeClr val="tx1"/>
            </a:solidFill>
          </a:endParaRPr>
        </a:p>
      </dgm:t>
    </dgm:pt>
    <dgm:pt modelId="{08B95ECF-548E-4C47-BEC0-D005D13A7B21}" type="parTrans" cxnId="{A2ECD1DD-F6A8-4E91-98DE-FF0689059D93}">
      <dgm:prSet/>
      <dgm:spPr/>
      <dgm:t>
        <a:bodyPr/>
        <a:lstStyle/>
        <a:p>
          <a:endParaRPr lang="en-US" sz="2000"/>
        </a:p>
      </dgm:t>
    </dgm:pt>
    <dgm:pt modelId="{8FCDAB0A-52AA-4094-B4B8-D2DE491A909E}" type="sibTrans" cxnId="{A2ECD1DD-F6A8-4E91-98DE-FF0689059D93}">
      <dgm:prSet/>
      <dgm:spPr/>
      <dgm:t>
        <a:bodyPr/>
        <a:lstStyle/>
        <a:p>
          <a:endParaRPr lang="en-US" sz="2000"/>
        </a:p>
      </dgm:t>
    </dgm:pt>
    <dgm:pt modelId="{2896C159-0B60-4ED0-A37A-0CAC2D3127C0}">
      <dgm:prSet phldrT="[Text]" custT="1"/>
      <dgm:spPr/>
      <dgm:t>
        <a:bodyPr/>
        <a:lstStyle/>
        <a:p>
          <a:r>
            <a:rPr lang="en-US" sz="1200" dirty="0"/>
            <a:t>Submission policy support</a:t>
          </a:r>
        </a:p>
      </dgm:t>
    </dgm:pt>
    <dgm:pt modelId="{CC26CD5E-D02F-4693-B5C6-37BECE0C5419}" type="parTrans" cxnId="{D2FDBE52-FDA8-4DA3-8CB0-52B20D30D97F}">
      <dgm:prSet/>
      <dgm:spPr/>
      <dgm:t>
        <a:bodyPr/>
        <a:lstStyle/>
        <a:p>
          <a:endParaRPr lang="en-US" sz="2000"/>
        </a:p>
      </dgm:t>
    </dgm:pt>
    <dgm:pt modelId="{FEC8944E-A9DA-4EFA-B150-063EB02D4B7F}" type="sibTrans" cxnId="{D2FDBE52-FDA8-4DA3-8CB0-52B20D30D97F}">
      <dgm:prSet/>
      <dgm:spPr/>
      <dgm:t>
        <a:bodyPr/>
        <a:lstStyle/>
        <a:p>
          <a:endParaRPr lang="en-US" sz="2000"/>
        </a:p>
      </dgm:t>
    </dgm:pt>
    <dgm:pt modelId="{EEB99A76-0EB0-439A-BAAD-9ACD41F5AC09}">
      <dgm:prSet phldrT="[Text]" custT="1"/>
      <dgm:spPr/>
      <dgm:t>
        <a:bodyPr/>
        <a:lstStyle/>
        <a:p>
          <a:r>
            <a:rPr lang="en-US" sz="1600" noProof="0">
              <a:solidFill>
                <a:schemeClr val="tx1"/>
              </a:solidFill>
            </a:rPr>
            <a:t>Regulatory Innovation/Strategic Initiatives</a:t>
          </a:r>
          <a:endParaRPr lang="en-US" sz="1600" dirty="0">
            <a:solidFill>
              <a:schemeClr val="tx1"/>
            </a:solidFill>
          </a:endParaRPr>
        </a:p>
      </dgm:t>
    </dgm:pt>
    <dgm:pt modelId="{564B7E83-AD61-4704-B66E-74F4D25F1A09}" type="parTrans" cxnId="{DC596206-25CB-4463-861F-E24C262E7529}">
      <dgm:prSet/>
      <dgm:spPr/>
      <dgm:t>
        <a:bodyPr/>
        <a:lstStyle/>
        <a:p>
          <a:endParaRPr lang="en-US" sz="2000"/>
        </a:p>
      </dgm:t>
    </dgm:pt>
    <dgm:pt modelId="{40A63E0D-B76C-4417-95E5-AF72EDC95612}" type="sibTrans" cxnId="{DC596206-25CB-4463-861F-E24C262E7529}">
      <dgm:prSet/>
      <dgm:spPr/>
      <dgm:t>
        <a:bodyPr/>
        <a:lstStyle/>
        <a:p>
          <a:endParaRPr lang="en-US" sz="2000"/>
        </a:p>
      </dgm:t>
    </dgm:pt>
    <dgm:pt modelId="{7A185777-B0FF-4158-BB35-D4D1BC330249}">
      <dgm:prSet phldrT="[Text]" custT="1"/>
      <dgm:spPr/>
      <dgm:t>
        <a:bodyPr/>
        <a:lstStyle/>
        <a:p>
          <a:r>
            <a:rPr lang="en-US" sz="1400" noProof="0" dirty="0"/>
            <a:t>Pre-Cert</a:t>
          </a:r>
          <a:endParaRPr lang="en-US" sz="1400" dirty="0"/>
        </a:p>
      </dgm:t>
    </dgm:pt>
    <dgm:pt modelId="{13ED670B-B680-4F4D-AB50-1506D387602B}" type="parTrans" cxnId="{3A39AB46-2059-4E56-935A-F7C2043D6242}">
      <dgm:prSet/>
      <dgm:spPr/>
      <dgm:t>
        <a:bodyPr/>
        <a:lstStyle/>
        <a:p>
          <a:endParaRPr lang="en-US" sz="2000"/>
        </a:p>
      </dgm:t>
    </dgm:pt>
    <dgm:pt modelId="{508DA1E6-7ABF-414F-B116-694296B00474}" type="sibTrans" cxnId="{3A39AB46-2059-4E56-935A-F7C2043D6242}">
      <dgm:prSet/>
      <dgm:spPr/>
      <dgm:t>
        <a:bodyPr/>
        <a:lstStyle/>
        <a:p>
          <a:endParaRPr lang="en-US" sz="2000"/>
        </a:p>
      </dgm:t>
    </dgm:pt>
    <dgm:pt modelId="{8D974EA9-6FCF-4FA3-A0DE-A6A848510B90}">
      <dgm:prSet custT="1"/>
      <dgm:spPr/>
      <dgm:t>
        <a:bodyPr/>
        <a:lstStyle/>
        <a:p>
          <a:r>
            <a:rPr lang="en-US" sz="1200" dirty="0"/>
            <a:t>DH inquiries</a:t>
          </a:r>
        </a:p>
      </dgm:t>
    </dgm:pt>
    <dgm:pt modelId="{0CD9857F-09E1-4B27-93B1-FB70B1C59375}" type="parTrans" cxnId="{9B17C238-11B9-4B76-AE5C-0B390480D353}">
      <dgm:prSet/>
      <dgm:spPr/>
      <dgm:t>
        <a:bodyPr/>
        <a:lstStyle/>
        <a:p>
          <a:endParaRPr lang="en-US" sz="2000"/>
        </a:p>
      </dgm:t>
    </dgm:pt>
    <dgm:pt modelId="{5BD05D23-6947-48FB-B5A4-A54359FD37C0}" type="sibTrans" cxnId="{9B17C238-11B9-4B76-AE5C-0B390480D353}">
      <dgm:prSet/>
      <dgm:spPr/>
      <dgm:t>
        <a:bodyPr/>
        <a:lstStyle/>
        <a:p>
          <a:endParaRPr lang="en-US" sz="2000"/>
        </a:p>
      </dgm:t>
    </dgm:pt>
    <dgm:pt modelId="{E0A95E96-D18C-4D15-A671-C93050F6A190}">
      <dgm:prSet custT="1"/>
      <dgm:spPr/>
      <dgm:t>
        <a:bodyPr/>
        <a:lstStyle/>
        <a:p>
          <a:r>
            <a:rPr lang="en-US" sz="1200" dirty="0"/>
            <a:t>Submission support</a:t>
          </a:r>
        </a:p>
      </dgm:t>
    </dgm:pt>
    <dgm:pt modelId="{49046C97-65D9-430F-B921-F20518442C98}" type="parTrans" cxnId="{475474C1-0AD5-455C-8E0E-18364C3161E9}">
      <dgm:prSet/>
      <dgm:spPr/>
      <dgm:t>
        <a:bodyPr/>
        <a:lstStyle/>
        <a:p>
          <a:endParaRPr lang="en-US" sz="2000"/>
        </a:p>
      </dgm:t>
    </dgm:pt>
    <dgm:pt modelId="{A04433E4-CBBC-4C19-8EBC-717A4FD22187}" type="sibTrans" cxnId="{475474C1-0AD5-455C-8E0E-18364C3161E9}">
      <dgm:prSet/>
      <dgm:spPr/>
      <dgm:t>
        <a:bodyPr/>
        <a:lstStyle/>
        <a:p>
          <a:endParaRPr lang="en-US" sz="2000"/>
        </a:p>
      </dgm:t>
    </dgm:pt>
    <dgm:pt modelId="{33053372-9154-4FA7-87F3-3B66291C2910}">
      <dgm:prSet custT="1"/>
      <dgm:spPr/>
      <dgm:t>
        <a:bodyPr/>
        <a:lstStyle/>
        <a:p>
          <a:r>
            <a:rPr lang="en-US" sz="1200" noProof="0"/>
            <a:t>Guidance/Policy development</a:t>
          </a:r>
          <a:endParaRPr lang="en-US" sz="1200" noProof="0" dirty="0"/>
        </a:p>
      </dgm:t>
    </dgm:pt>
    <dgm:pt modelId="{3CF25F2B-3D0A-4E71-BF02-7992549B63DB}" type="parTrans" cxnId="{B8C187EE-F808-4C89-9392-39DCD7601498}">
      <dgm:prSet/>
      <dgm:spPr/>
      <dgm:t>
        <a:bodyPr/>
        <a:lstStyle/>
        <a:p>
          <a:endParaRPr lang="en-US" sz="2000"/>
        </a:p>
      </dgm:t>
    </dgm:pt>
    <dgm:pt modelId="{F6C764D7-E46F-4DF5-A3C6-D47C7201B811}" type="sibTrans" cxnId="{B8C187EE-F808-4C89-9392-39DCD7601498}">
      <dgm:prSet/>
      <dgm:spPr/>
      <dgm:t>
        <a:bodyPr/>
        <a:lstStyle/>
        <a:p>
          <a:endParaRPr lang="en-US" sz="2000"/>
        </a:p>
      </dgm:t>
    </dgm:pt>
    <dgm:pt modelId="{ECC867FA-EFE6-4D52-B09E-701A88BBEC92}">
      <dgm:prSet custT="1"/>
      <dgm:spPr/>
      <dgm:t>
        <a:bodyPr/>
        <a:lstStyle/>
        <a:p>
          <a:r>
            <a:rPr lang="en-US" sz="1200" noProof="0" dirty="0"/>
            <a:t>Wearables</a:t>
          </a:r>
        </a:p>
      </dgm:t>
    </dgm:pt>
    <dgm:pt modelId="{7075BC7E-3829-4C85-8B01-84A8FB3EB519}" type="parTrans" cxnId="{04FB9DAC-8E3C-443C-9005-A651A1EE443E}">
      <dgm:prSet/>
      <dgm:spPr/>
      <dgm:t>
        <a:bodyPr/>
        <a:lstStyle/>
        <a:p>
          <a:endParaRPr lang="en-US" sz="2000"/>
        </a:p>
      </dgm:t>
    </dgm:pt>
    <dgm:pt modelId="{74BBFA5E-4009-4E4A-8986-D5351B527EAB}" type="sibTrans" cxnId="{04FB9DAC-8E3C-443C-9005-A651A1EE443E}">
      <dgm:prSet/>
      <dgm:spPr/>
      <dgm:t>
        <a:bodyPr/>
        <a:lstStyle/>
        <a:p>
          <a:endParaRPr lang="en-US" sz="2000"/>
        </a:p>
      </dgm:t>
    </dgm:pt>
    <dgm:pt modelId="{07A8C20D-EE5C-4B77-BAAF-FE5497CED6C5}">
      <dgm:prSet custT="1"/>
      <dgm:spPr/>
      <dgm:t>
        <a:bodyPr/>
        <a:lstStyle/>
        <a:p>
          <a:r>
            <a:rPr lang="en-US" sz="1200" noProof="0" dirty="0"/>
            <a:t>Software development practices</a:t>
          </a:r>
        </a:p>
      </dgm:t>
    </dgm:pt>
    <dgm:pt modelId="{53011E6A-416E-456D-A521-F263C34DD5F9}" type="parTrans" cxnId="{493CCD43-6E11-4B1B-812A-4DD0009B0907}">
      <dgm:prSet/>
      <dgm:spPr/>
      <dgm:t>
        <a:bodyPr/>
        <a:lstStyle/>
        <a:p>
          <a:endParaRPr lang="en-US" sz="2000"/>
        </a:p>
      </dgm:t>
    </dgm:pt>
    <dgm:pt modelId="{033C85D2-BF17-421A-A66D-A3C7E8A36288}" type="sibTrans" cxnId="{493CCD43-6E11-4B1B-812A-4DD0009B0907}">
      <dgm:prSet/>
      <dgm:spPr/>
      <dgm:t>
        <a:bodyPr/>
        <a:lstStyle/>
        <a:p>
          <a:endParaRPr lang="en-US" sz="2000"/>
        </a:p>
      </dgm:t>
    </dgm:pt>
    <dgm:pt modelId="{88AE3B51-0B06-449A-9392-1DAFC23CD1CE}">
      <dgm:prSet custT="1"/>
      <dgm:spPr/>
      <dgm:t>
        <a:bodyPr/>
        <a:lstStyle/>
        <a:p>
          <a:r>
            <a:rPr lang="en-US" sz="1200" dirty="0"/>
            <a:t>Software and digital health standards </a:t>
          </a:r>
          <a:endParaRPr lang="en-US" sz="1200" noProof="0" dirty="0"/>
        </a:p>
      </dgm:t>
    </dgm:pt>
    <dgm:pt modelId="{FF78EBAA-D20D-4C15-B5C4-EBB1A4E9E629}" type="parTrans" cxnId="{6DBE5C11-E923-4C64-A15C-3B7C4E34A81F}">
      <dgm:prSet/>
      <dgm:spPr/>
      <dgm:t>
        <a:bodyPr/>
        <a:lstStyle/>
        <a:p>
          <a:endParaRPr lang="en-US" sz="2000"/>
        </a:p>
      </dgm:t>
    </dgm:pt>
    <dgm:pt modelId="{308A7C5E-588C-475C-9BF0-1981195870A7}" type="sibTrans" cxnId="{6DBE5C11-E923-4C64-A15C-3B7C4E34A81F}">
      <dgm:prSet/>
      <dgm:spPr/>
      <dgm:t>
        <a:bodyPr/>
        <a:lstStyle/>
        <a:p>
          <a:endParaRPr lang="en-US" sz="2000"/>
        </a:p>
      </dgm:t>
    </dgm:pt>
    <dgm:pt modelId="{2CC62E00-7BE9-4D7C-806E-2583B9FED6DA}">
      <dgm:prSet custT="1"/>
      <dgm:spPr/>
      <dgm:t>
        <a:bodyPr/>
        <a:lstStyle/>
        <a:p>
          <a:r>
            <a:rPr lang="en-US" sz="1400" noProof="0" dirty="0"/>
            <a:t>Wearables</a:t>
          </a:r>
        </a:p>
      </dgm:t>
    </dgm:pt>
    <dgm:pt modelId="{8F9AAC44-42AB-45C5-937F-86688BBFC732}" type="parTrans" cxnId="{DC58D526-252D-493A-90F5-41FB9B5F476E}">
      <dgm:prSet/>
      <dgm:spPr/>
      <dgm:t>
        <a:bodyPr/>
        <a:lstStyle/>
        <a:p>
          <a:endParaRPr lang="en-US" sz="2000"/>
        </a:p>
      </dgm:t>
    </dgm:pt>
    <dgm:pt modelId="{5B5BAEEF-C657-410C-84C6-E45890E2BC9E}" type="sibTrans" cxnId="{DC58D526-252D-493A-90F5-41FB9B5F476E}">
      <dgm:prSet/>
      <dgm:spPr/>
      <dgm:t>
        <a:bodyPr/>
        <a:lstStyle/>
        <a:p>
          <a:endParaRPr lang="en-US" sz="2000"/>
        </a:p>
      </dgm:t>
    </dgm:pt>
    <dgm:pt modelId="{930AFE1B-0D46-4A3D-9426-E7D0320A77CF}">
      <dgm:prSet custT="1"/>
      <dgm:spPr/>
      <dgm:t>
        <a:bodyPr/>
        <a:lstStyle/>
        <a:p>
          <a:r>
            <a:rPr lang="en-US" sz="1400" noProof="0" dirty="0"/>
            <a:t>Interoperability</a:t>
          </a:r>
        </a:p>
      </dgm:t>
    </dgm:pt>
    <dgm:pt modelId="{B4BEEE2F-B0BD-498E-A44D-4397C1B8C3FB}" type="parTrans" cxnId="{FE9E05BD-D896-47A9-8149-D5C31E51FB8B}">
      <dgm:prSet/>
      <dgm:spPr/>
      <dgm:t>
        <a:bodyPr/>
        <a:lstStyle/>
        <a:p>
          <a:endParaRPr lang="en-US" sz="2000"/>
        </a:p>
      </dgm:t>
    </dgm:pt>
    <dgm:pt modelId="{08D07373-132F-482E-AD96-A739127553EA}" type="sibTrans" cxnId="{FE9E05BD-D896-47A9-8149-D5C31E51FB8B}">
      <dgm:prSet/>
      <dgm:spPr/>
      <dgm:t>
        <a:bodyPr/>
        <a:lstStyle/>
        <a:p>
          <a:endParaRPr lang="en-US" sz="2000"/>
        </a:p>
      </dgm:t>
    </dgm:pt>
    <dgm:pt modelId="{9E97A568-1BC3-4AE6-B225-F7549F36A17F}">
      <dgm:prSet custT="1"/>
      <dgm:spPr/>
      <dgm:t>
        <a:bodyPr/>
        <a:lstStyle/>
        <a:p>
          <a:r>
            <a:rPr lang="en-US" sz="1400" noProof="0" dirty="0"/>
            <a:t>Digital Biomarkers</a:t>
          </a:r>
        </a:p>
      </dgm:t>
    </dgm:pt>
    <dgm:pt modelId="{5F9A7798-AD9B-4FB2-A924-288BF6689BFF}" type="parTrans" cxnId="{996FD197-7273-4A0E-BDF3-5687A9B4F482}">
      <dgm:prSet/>
      <dgm:spPr/>
      <dgm:t>
        <a:bodyPr/>
        <a:lstStyle/>
        <a:p>
          <a:endParaRPr lang="en-US" sz="2000"/>
        </a:p>
      </dgm:t>
    </dgm:pt>
    <dgm:pt modelId="{9D5B44F3-0C53-496E-A4A1-5D5E1F3A6821}" type="sibTrans" cxnId="{996FD197-7273-4A0E-BDF3-5687A9B4F482}">
      <dgm:prSet/>
      <dgm:spPr/>
      <dgm:t>
        <a:bodyPr/>
        <a:lstStyle/>
        <a:p>
          <a:endParaRPr lang="en-US" sz="2000"/>
        </a:p>
      </dgm:t>
    </dgm:pt>
    <dgm:pt modelId="{F6CC9B91-1419-4848-B601-3FB6A177F960}">
      <dgm:prSet custT="1"/>
      <dgm:spPr/>
      <dgm:t>
        <a:bodyPr/>
        <a:lstStyle/>
        <a:p>
          <a:r>
            <a:rPr lang="en-US" sz="1600" noProof="0">
              <a:solidFill>
                <a:schemeClr val="tx1"/>
              </a:solidFill>
            </a:rPr>
            <a:t>DHCoE Operations &amp; Coordination/Partnerships</a:t>
          </a:r>
          <a:endParaRPr lang="en-US" sz="1600" noProof="0" dirty="0">
            <a:solidFill>
              <a:schemeClr val="tx1"/>
            </a:solidFill>
          </a:endParaRPr>
        </a:p>
      </dgm:t>
    </dgm:pt>
    <dgm:pt modelId="{992810DE-4925-427A-8226-AFB7A241EF35}" type="parTrans" cxnId="{F7B23AE6-4613-4E86-9146-1BD7A8580B65}">
      <dgm:prSet/>
      <dgm:spPr/>
      <dgm:t>
        <a:bodyPr/>
        <a:lstStyle/>
        <a:p>
          <a:endParaRPr lang="en-US" sz="2000"/>
        </a:p>
      </dgm:t>
    </dgm:pt>
    <dgm:pt modelId="{A769C79E-7065-465B-A160-96C12CF7C318}" type="sibTrans" cxnId="{F7B23AE6-4613-4E86-9146-1BD7A8580B65}">
      <dgm:prSet/>
      <dgm:spPr/>
      <dgm:t>
        <a:bodyPr/>
        <a:lstStyle/>
        <a:p>
          <a:endParaRPr lang="en-US" sz="2000"/>
        </a:p>
      </dgm:t>
    </dgm:pt>
    <dgm:pt modelId="{1A1E1A01-2261-4F29-B5AB-61019A4928D7}">
      <dgm:prSet phldrT="[Text]"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AI/ML in Medical Products</a:t>
          </a:r>
          <a:endParaRPr lang="en-US" sz="1600" noProof="0" dirty="0">
            <a:solidFill>
              <a:schemeClr val="tx1"/>
            </a:solidFill>
          </a:endParaRPr>
        </a:p>
      </dgm:t>
    </dgm:pt>
    <dgm:pt modelId="{B7F7B0A4-A80D-4CB3-94EF-46CDAD194F8E}" type="parTrans" cxnId="{9AAF10C5-A2D5-41F3-BCCD-93C067A48788}">
      <dgm:prSet/>
      <dgm:spPr/>
      <dgm:t>
        <a:bodyPr/>
        <a:lstStyle/>
        <a:p>
          <a:endParaRPr lang="en-US" sz="2000"/>
        </a:p>
      </dgm:t>
    </dgm:pt>
    <dgm:pt modelId="{BBD30372-12C0-44B4-A3F1-235BA04B3700}" type="sibTrans" cxnId="{9AAF10C5-A2D5-41F3-BCCD-93C067A48788}">
      <dgm:prSet/>
      <dgm:spPr/>
      <dgm:t>
        <a:bodyPr/>
        <a:lstStyle/>
        <a:p>
          <a:endParaRPr lang="en-US" sz="2000"/>
        </a:p>
      </dgm:t>
    </dgm:pt>
    <dgm:pt modelId="{5153A707-7C62-4662-B002-A197F3EF53A6}">
      <dgm:prSet phldrT="[Text]" custT="1"/>
      <dgm:spPr/>
      <dgm:t>
        <a:bodyPr/>
        <a:lstStyle/>
        <a:p>
          <a:r>
            <a:rPr lang="en-US" sz="1400" u="sng" noProof="0" dirty="0"/>
            <a:t>Internal: </a:t>
          </a:r>
          <a:r>
            <a:rPr lang="en-US" sz="1400" noProof="0" dirty="0"/>
            <a:t>Steering Committee, Advisory Group</a:t>
          </a:r>
        </a:p>
      </dgm:t>
    </dgm:pt>
    <dgm:pt modelId="{CCD29636-6A8A-425B-9D06-913BE12D7784}" type="parTrans" cxnId="{78BABF40-7123-4492-84A8-47B626D8A45D}">
      <dgm:prSet/>
      <dgm:spPr/>
      <dgm:t>
        <a:bodyPr/>
        <a:lstStyle/>
        <a:p>
          <a:endParaRPr lang="en-US" sz="2000"/>
        </a:p>
      </dgm:t>
    </dgm:pt>
    <dgm:pt modelId="{67DC169A-2D82-41A3-A4D1-D527680E7843}" type="sibTrans" cxnId="{78BABF40-7123-4492-84A8-47B626D8A45D}">
      <dgm:prSet/>
      <dgm:spPr/>
      <dgm:t>
        <a:bodyPr/>
        <a:lstStyle/>
        <a:p>
          <a:endParaRPr lang="en-US" sz="2000"/>
        </a:p>
      </dgm:t>
    </dgm:pt>
    <dgm:pt modelId="{70090215-0876-4261-8F5B-D31C9C737539}">
      <dgm:prSet phldrT="[Text]" custT="1"/>
      <dgm:spPr/>
      <dgm:t>
        <a:bodyPr/>
        <a:lstStyle/>
        <a:p>
          <a:r>
            <a:rPr lang="en-US" sz="1400" dirty="0"/>
            <a:t>Policy development and support</a:t>
          </a:r>
          <a:endParaRPr lang="en-US" sz="1400" noProof="0" dirty="0"/>
        </a:p>
      </dgm:t>
    </dgm:pt>
    <dgm:pt modelId="{C092A298-199F-40CD-9AA1-6B98517ECF39}" type="parTrans" cxnId="{CB6D6C95-3B7C-4514-91E3-1460C2BAD24D}">
      <dgm:prSet/>
      <dgm:spPr/>
      <dgm:t>
        <a:bodyPr/>
        <a:lstStyle/>
        <a:p>
          <a:endParaRPr lang="en-US" sz="2000"/>
        </a:p>
      </dgm:t>
    </dgm:pt>
    <dgm:pt modelId="{32301636-838B-48CF-8B68-3F02647E2D5A}" type="sibTrans" cxnId="{CB6D6C95-3B7C-4514-91E3-1460C2BAD24D}">
      <dgm:prSet/>
      <dgm:spPr/>
      <dgm:t>
        <a:bodyPr/>
        <a:lstStyle/>
        <a:p>
          <a:endParaRPr lang="en-US" sz="2000"/>
        </a:p>
      </dgm:t>
    </dgm:pt>
    <dgm:pt modelId="{3F3D3AE0-6035-4077-8E96-CF087B37957E}">
      <dgm:prSet custT="1"/>
      <dgm:spPr/>
      <dgm:t>
        <a:bodyPr/>
        <a:lstStyle/>
        <a:p>
          <a:r>
            <a:rPr lang="en-US" sz="1400" dirty="0"/>
            <a:t>IMDRF collaborations</a:t>
          </a:r>
        </a:p>
      </dgm:t>
    </dgm:pt>
    <dgm:pt modelId="{9BF6D8FD-8D43-4FC2-8DE1-1947D254EA5C}" type="parTrans" cxnId="{A7E73122-48B5-4C80-A2D4-40BA6EC0612C}">
      <dgm:prSet/>
      <dgm:spPr/>
      <dgm:t>
        <a:bodyPr/>
        <a:lstStyle/>
        <a:p>
          <a:endParaRPr lang="en-US" sz="2000"/>
        </a:p>
      </dgm:t>
    </dgm:pt>
    <dgm:pt modelId="{BC379958-D32C-42B8-8531-2685FE6F0AD0}" type="sibTrans" cxnId="{A7E73122-48B5-4C80-A2D4-40BA6EC0612C}">
      <dgm:prSet/>
      <dgm:spPr/>
      <dgm:t>
        <a:bodyPr/>
        <a:lstStyle/>
        <a:p>
          <a:endParaRPr lang="en-US" sz="2000"/>
        </a:p>
      </dgm:t>
    </dgm:pt>
    <dgm:pt modelId="{A249AEE0-8408-4BFD-A263-67A32183B91A}">
      <dgm:prSet custT="1"/>
      <dgm:spPr/>
      <dgm:t>
        <a:bodyPr/>
        <a:lstStyle/>
        <a:p>
          <a:r>
            <a:rPr lang="en-US" sz="1400" dirty="0"/>
            <a:t>External engagement/ collaboration</a:t>
          </a:r>
        </a:p>
      </dgm:t>
    </dgm:pt>
    <dgm:pt modelId="{4C36BD6B-C528-4809-AFF9-3E761097E775}" type="parTrans" cxnId="{636A796C-1466-4D40-9715-1108EB4AC768}">
      <dgm:prSet/>
      <dgm:spPr/>
      <dgm:t>
        <a:bodyPr/>
        <a:lstStyle/>
        <a:p>
          <a:endParaRPr lang="en-US" sz="2000"/>
        </a:p>
      </dgm:t>
    </dgm:pt>
    <dgm:pt modelId="{8E5C8555-03AA-47D4-98C6-9DA28FA1A40C}" type="sibTrans" cxnId="{636A796C-1466-4D40-9715-1108EB4AC768}">
      <dgm:prSet/>
      <dgm:spPr/>
      <dgm:t>
        <a:bodyPr/>
        <a:lstStyle/>
        <a:p>
          <a:endParaRPr lang="en-US" sz="2000"/>
        </a:p>
      </dgm:t>
    </dgm:pt>
    <dgm:pt modelId="{71D6D32A-4027-4995-B152-6031CAAF9EED}">
      <dgm:prSet phldrT="[Text]" custT="1"/>
      <dgm:spPr/>
      <dgm:t>
        <a:bodyPr/>
        <a:lstStyle/>
        <a:p>
          <a:r>
            <a:rPr lang="en-US" sz="1400" u="sng" noProof="0" dirty="0"/>
            <a:t>External: </a:t>
          </a:r>
          <a:r>
            <a:rPr lang="en-US" sz="1400" noProof="0" dirty="0"/>
            <a:t>collaborations and partnerships</a:t>
          </a:r>
        </a:p>
      </dgm:t>
    </dgm:pt>
    <dgm:pt modelId="{986FF0C1-95BE-487A-AA2B-0EB8AC40CE3D}" type="parTrans" cxnId="{7BC01A86-4060-448F-A195-205FF7F3CB49}">
      <dgm:prSet/>
      <dgm:spPr/>
      <dgm:t>
        <a:bodyPr/>
        <a:lstStyle/>
        <a:p>
          <a:endParaRPr lang="en-US" sz="2000"/>
        </a:p>
      </dgm:t>
    </dgm:pt>
    <dgm:pt modelId="{E5ECAD4B-65B3-45E6-947D-95B4F52A3009}" type="sibTrans" cxnId="{7BC01A86-4060-448F-A195-205FF7F3CB49}">
      <dgm:prSet/>
      <dgm:spPr/>
      <dgm:t>
        <a:bodyPr/>
        <a:lstStyle/>
        <a:p>
          <a:endParaRPr lang="en-US" sz="2000"/>
        </a:p>
      </dgm:t>
    </dgm:pt>
    <dgm:pt modelId="{CBBCBC07-EC76-4869-B552-262697C17763}" type="pres">
      <dgm:prSet presAssocID="{D8924255-C7D5-4228-A5E4-DF6E692476DF}" presName="diagram" presStyleCnt="0">
        <dgm:presLayoutVars>
          <dgm:dir/>
          <dgm:resizeHandles val="exact"/>
        </dgm:presLayoutVars>
      </dgm:prSet>
      <dgm:spPr/>
    </dgm:pt>
    <dgm:pt modelId="{4D165901-745E-4A35-8607-FF4D3E288409}" type="pres">
      <dgm:prSet presAssocID="{EEB99A76-0EB0-439A-BAAD-9ACD41F5AC09}" presName="node" presStyleLbl="node1" presStyleIdx="0" presStyleCnt="5">
        <dgm:presLayoutVars>
          <dgm:bulletEnabled val="1"/>
        </dgm:presLayoutVars>
      </dgm:prSet>
      <dgm:spPr/>
    </dgm:pt>
    <dgm:pt modelId="{016490B5-2AF7-4AEA-BC9F-EC80BE3C41D1}" type="pres">
      <dgm:prSet presAssocID="{40A63E0D-B76C-4417-95E5-AF72EDC95612}" presName="sibTrans" presStyleCnt="0"/>
      <dgm:spPr/>
    </dgm:pt>
    <dgm:pt modelId="{EA95B292-F6D3-4979-A2A0-987638F63285}" type="pres">
      <dgm:prSet presAssocID="{E0670893-314F-4D43-BD79-F75BD0C9DC38}" presName="node" presStyleLbl="node1" presStyleIdx="1" presStyleCnt="5">
        <dgm:presLayoutVars>
          <dgm:bulletEnabled val="1"/>
        </dgm:presLayoutVars>
      </dgm:prSet>
      <dgm:spPr/>
    </dgm:pt>
    <dgm:pt modelId="{23E457CA-49CE-46D0-9DD6-0A2176CE734F}" type="pres">
      <dgm:prSet presAssocID="{8FCDAB0A-52AA-4094-B4B8-D2DE491A909E}" presName="sibTrans" presStyleCnt="0"/>
      <dgm:spPr/>
    </dgm:pt>
    <dgm:pt modelId="{6649DABA-72E0-4284-BDAA-E47A0C2B17F5}" type="pres">
      <dgm:prSet presAssocID="{F6CC9B91-1419-4848-B601-3FB6A177F960}" presName="node" presStyleLbl="node1" presStyleIdx="2" presStyleCnt="5">
        <dgm:presLayoutVars>
          <dgm:bulletEnabled val="1"/>
        </dgm:presLayoutVars>
      </dgm:prSet>
      <dgm:spPr/>
    </dgm:pt>
    <dgm:pt modelId="{C5FBD0E9-3BFC-4DE6-8695-CA8184C4764F}" type="pres">
      <dgm:prSet presAssocID="{A769C79E-7065-465B-A160-96C12CF7C318}" presName="sibTrans" presStyleCnt="0"/>
      <dgm:spPr/>
    </dgm:pt>
    <dgm:pt modelId="{B119AAC4-D017-429A-B069-C311EE67B4A1}" type="pres">
      <dgm:prSet presAssocID="{1DCCE4B3-0F28-40A0-83F9-3BDBFB39D854}" presName="node" presStyleLbl="node1" presStyleIdx="3" presStyleCnt="5">
        <dgm:presLayoutVars>
          <dgm:bulletEnabled val="1"/>
        </dgm:presLayoutVars>
      </dgm:prSet>
      <dgm:spPr/>
    </dgm:pt>
    <dgm:pt modelId="{A6EACAD2-B440-489A-BD7E-85A5225C8668}" type="pres">
      <dgm:prSet presAssocID="{3239E5B3-A088-4E4E-A973-C4A9ED4D9075}" presName="sibTrans" presStyleCnt="0"/>
      <dgm:spPr/>
    </dgm:pt>
    <dgm:pt modelId="{BB346742-F866-4E30-8745-5BA52B9C2B22}" type="pres">
      <dgm:prSet presAssocID="{1A1E1A01-2261-4F29-B5AB-61019A4928D7}" presName="node" presStyleLbl="node1" presStyleIdx="4" presStyleCnt="5">
        <dgm:presLayoutVars>
          <dgm:bulletEnabled val="1"/>
        </dgm:presLayoutVars>
      </dgm:prSet>
      <dgm:spPr/>
    </dgm:pt>
  </dgm:ptLst>
  <dgm:cxnLst>
    <dgm:cxn modelId="{11E6B400-9450-47FF-AFEC-8B14EA874DBB}" type="presOf" srcId="{930AFE1B-0D46-4A3D-9426-E7D0320A77CF}" destId="{4D165901-745E-4A35-8607-FF4D3E288409}" srcOrd="0" destOrd="3" presId="urn:microsoft.com/office/officeart/2005/8/layout/default"/>
    <dgm:cxn modelId="{C7262701-84BD-477A-8919-A8BFA8A4579F}" type="presOf" srcId="{70090215-0876-4261-8F5B-D31C9C737539}" destId="{BB346742-F866-4E30-8745-5BA52B9C2B22}" srcOrd="0" destOrd="1" presId="urn:microsoft.com/office/officeart/2005/8/layout/default"/>
    <dgm:cxn modelId="{DC596206-25CB-4463-861F-E24C262E7529}" srcId="{D8924255-C7D5-4228-A5E4-DF6E692476DF}" destId="{EEB99A76-0EB0-439A-BAAD-9ACD41F5AC09}" srcOrd="0" destOrd="0" parTransId="{564B7E83-AD61-4704-B66E-74F4D25F1A09}" sibTransId="{40A63E0D-B76C-4417-95E5-AF72EDC95612}"/>
    <dgm:cxn modelId="{C2C08107-1066-41E1-A4A5-25E964A0B6B5}" type="presOf" srcId="{07A8C20D-EE5C-4B77-BAAF-FE5497CED6C5}" destId="{EA95B292-F6D3-4979-A2A0-987638F63285}" srcOrd="0" destOrd="3" presId="urn:microsoft.com/office/officeart/2005/8/layout/default"/>
    <dgm:cxn modelId="{F4ABCF08-86F7-4100-A2A9-2070E794E697}" type="presOf" srcId="{88AE3B51-0B06-449A-9392-1DAFC23CD1CE}" destId="{EA95B292-F6D3-4979-A2A0-987638F63285}" srcOrd="0" destOrd="4" presId="urn:microsoft.com/office/officeart/2005/8/layout/default"/>
    <dgm:cxn modelId="{6DBE5C11-E923-4C64-A15C-3B7C4E34A81F}" srcId="{E0670893-314F-4D43-BD79-F75BD0C9DC38}" destId="{88AE3B51-0B06-449A-9392-1DAFC23CD1CE}" srcOrd="3" destOrd="0" parTransId="{FF78EBAA-D20D-4C15-B5C4-EBB1A4E9E629}" sibTransId="{308A7C5E-588C-475C-9BF0-1981195870A7}"/>
    <dgm:cxn modelId="{A7E73122-48B5-4C80-A2D4-40BA6EC0612C}" srcId="{1A1E1A01-2261-4F29-B5AB-61019A4928D7}" destId="{3F3D3AE0-6035-4077-8E96-CF087B37957E}" srcOrd="1" destOrd="0" parTransId="{9BF6D8FD-8D43-4FC2-8DE1-1947D254EA5C}" sibTransId="{BC379958-D32C-42B8-8531-2685FE6F0AD0}"/>
    <dgm:cxn modelId="{8C76A724-5DF2-438E-BB78-C4888BAC2E28}" type="presOf" srcId="{8D974EA9-6FCF-4FA3-A0DE-A6A848510B90}" destId="{B119AAC4-D017-429A-B069-C311EE67B4A1}" srcOrd="0" destOrd="2" presId="urn:microsoft.com/office/officeart/2005/8/layout/default"/>
    <dgm:cxn modelId="{DC58D526-252D-493A-90F5-41FB9B5F476E}" srcId="{EEB99A76-0EB0-439A-BAAD-9ACD41F5AC09}" destId="{2CC62E00-7BE9-4D7C-806E-2583B9FED6DA}" srcOrd="1" destOrd="0" parTransId="{8F9AAC44-42AB-45C5-937F-86688BBFC732}" sibTransId="{5B5BAEEF-C657-410C-84C6-E45890E2BC9E}"/>
    <dgm:cxn modelId="{9658B328-C026-42EE-952A-E6EDFD70B7C6}" type="presOf" srcId="{1A1E1A01-2261-4F29-B5AB-61019A4928D7}" destId="{BB346742-F866-4E30-8745-5BA52B9C2B22}" srcOrd="0" destOrd="0" presId="urn:microsoft.com/office/officeart/2005/8/layout/default"/>
    <dgm:cxn modelId="{9B17C238-11B9-4B76-AE5C-0B390480D353}" srcId="{1DCCE4B3-0F28-40A0-83F9-3BDBFB39D854}" destId="{8D974EA9-6FCF-4FA3-A0DE-A6A848510B90}" srcOrd="1" destOrd="0" parTransId="{0CD9857F-09E1-4B27-93B1-FB70B1C59375}" sibTransId="{5BD05D23-6947-48FB-B5A4-A54359FD37C0}"/>
    <dgm:cxn modelId="{6599313A-0C53-4822-9216-D8E9A2758529}" type="presOf" srcId="{3F3D3AE0-6035-4077-8E96-CF087B37957E}" destId="{BB346742-F866-4E30-8745-5BA52B9C2B22}" srcOrd="0" destOrd="2" presId="urn:microsoft.com/office/officeart/2005/8/layout/default"/>
    <dgm:cxn modelId="{3BAFB43F-C82B-4F5A-B753-B70106515257}" type="presOf" srcId="{ECC867FA-EFE6-4D52-B09E-701A88BBEC92}" destId="{EA95B292-F6D3-4979-A2A0-987638F63285}" srcOrd="0" destOrd="2" presId="urn:microsoft.com/office/officeart/2005/8/layout/default"/>
    <dgm:cxn modelId="{36ABA640-8A9B-410B-A9AD-8DFABE053FA8}" type="presOf" srcId="{33053372-9154-4FA7-87F3-3B66291C2910}" destId="{B119AAC4-D017-429A-B069-C311EE67B4A1}" srcOrd="0" destOrd="3" presId="urn:microsoft.com/office/officeart/2005/8/layout/default"/>
    <dgm:cxn modelId="{78BABF40-7123-4492-84A8-47B626D8A45D}" srcId="{F6CC9B91-1419-4848-B601-3FB6A177F960}" destId="{5153A707-7C62-4662-B002-A197F3EF53A6}" srcOrd="0" destOrd="0" parTransId="{CCD29636-6A8A-425B-9D06-913BE12D7784}" sibTransId="{67DC169A-2D82-41A3-A4D1-D527680E7843}"/>
    <dgm:cxn modelId="{FF77685C-4DA5-4495-8640-AF5377A79874}" type="presOf" srcId="{7A185777-B0FF-4158-BB35-D4D1BC330249}" destId="{4D165901-745E-4A35-8607-FF4D3E288409}" srcOrd="0" destOrd="1" presId="urn:microsoft.com/office/officeart/2005/8/layout/default"/>
    <dgm:cxn modelId="{5E5C765E-6E2A-4354-BFC6-37313EAC5E3D}" type="presOf" srcId="{2896C159-0B60-4ED0-A37A-0CAC2D3127C0}" destId="{EA95B292-F6D3-4979-A2A0-987638F63285}" srcOrd="0" destOrd="1" presId="urn:microsoft.com/office/officeart/2005/8/layout/default"/>
    <dgm:cxn modelId="{9A7D0042-3691-447A-B2E2-CA47DB7DF346}" type="presOf" srcId="{D8924255-C7D5-4228-A5E4-DF6E692476DF}" destId="{CBBCBC07-EC76-4869-B552-262697C17763}" srcOrd="0" destOrd="0" presId="urn:microsoft.com/office/officeart/2005/8/layout/default"/>
    <dgm:cxn modelId="{493CCD43-6E11-4B1B-812A-4DD0009B0907}" srcId="{E0670893-314F-4D43-BD79-F75BD0C9DC38}" destId="{07A8C20D-EE5C-4B77-BAAF-FE5497CED6C5}" srcOrd="2" destOrd="0" parTransId="{53011E6A-416E-456D-A521-F263C34DD5F9}" sibTransId="{033C85D2-BF17-421A-A66D-A3C7E8A36288}"/>
    <dgm:cxn modelId="{3A39AB46-2059-4E56-935A-F7C2043D6242}" srcId="{EEB99A76-0EB0-439A-BAAD-9ACD41F5AC09}" destId="{7A185777-B0FF-4158-BB35-D4D1BC330249}" srcOrd="0" destOrd="0" parTransId="{13ED670B-B680-4F4D-AB50-1506D387602B}" sibTransId="{508DA1E6-7ABF-414F-B116-694296B00474}"/>
    <dgm:cxn modelId="{636A796C-1466-4D40-9715-1108EB4AC768}" srcId="{1A1E1A01-2261-4F29-B5AB-61019A4928D7}" destId="{A249AEE0-8408-4BFD-A263-67A32183B91A}" srcOrd="2" destOrd="0" parTransId="{4C36BD6B-C528-4809-AFF9-3E761097E775}" sibTransId="{8E5C8555-03AA-47D4-98C6-9DA28FA1A40C}"/>
    <dgm:cxn modelId="{D2FDBE52-FDA8-4DA3-8CB0-52B20D30D97F}" srcId="{E0670893-314F-4D43-BD79-F75BD0C9DC38}" destId="{2896C159-0B60-4ED0-A37A-0CAC2D3127C0}" srcOrd="0" destOrd="0" parTransId="{CC26CD5E-D02F-4693-B5C6-37BECE0C5419}" sibTransId="{FEC8944E-A9DA-4EFA-B150-063EB02D4B7F}"/>
    <dgm:cxn modelId="{FA07A073-ABC9-4A48-B953-62B1F4030718}" type="presOf" srcId="{E0670893-314F-4D43-BD79-F75BD0C9DC38}" destId="{EA95B292-F6D3-4979-A2A0-987638F63285}" srcOrd="0" destOrd="0" presId="urn:microsoft.com/office/officeart/2005/8/layout/default"/>
    <dgm:cxn modelId="{7C2A6257-5E03-48A0-92E3-A730373A6343}" type="presOf" srcId="{2CC62E00-7BE9-4D7C-806E-2583B9FED6DA}" destId="{4D165901-745E-4A35-8607-FF4D3E288409}" srcOrd="0" destOrd="2" presId="urn:microsoft.com/office/officeart/2005/8/layout/default"/>
    <dgm:cxn modelId="{7BC01A86-4060-448F-A195-205FF7F3CB49}" srcId="{F6CC9B91-1419-4848-B601-3FB6A177F960}" destId="{71D6D32A-4027-4995-B152-6031CAAF9EED}" srcOrd="1" destOrd="0" parTransId="{986FF0C1-95BE-487A-AA2B-0EB8AC40CE3D}" sibTransId="{E5ECAD4B-65B3-45E6-947D-95B4F52A3009}"/>
    <dgm:cxn modelId="{15ED548D-96DE-46AA-BAB3-37D858CB6CC0}" type="presOf" srcId="{A249AEE0-8408-4BFD-A263-67A32183B91A}" destId="{BB346742-F866-4E30-8745-5BA52B9C2B22}" srcOrd="0" destOrd="3" presId="urn:microsoft.com/office/officeart/2005/8/layout/default"/>
    <dgm:cxn modelId="{CB6D6C95-3B7C-4514-91E3-1460C2BAD24D}" srcId="{1A1E1A01-2261-4F29-B5AB-61019A4928D7}" destId="{70090215-0876-4261-8F5B-D31C9C737539}" srcOrd="0" destOrd="0" parTransId="{C092A298-199F-40CD-9AA1-6B98517ECF39}" sibTransId="{32301636-838B-48CF-8B68-3F02647E2D5A}"/>
    <dgm:cxn modelId="{996FD197-7273-4A0E-BDF3-5687A9B4F482}" srcId="{EEB99A76-0EB0-439A-BAAD-9ACD41F5AC09}" destId="{9E97A568-1BC3-4AE6-B225-F7549F36A17F}" srcOrd="3" destOrd="0" parTransId="{5F9A7798-AD9B-4FB2-A924-288BF6689BFF}" sibTransId="{9D5B44F3-0C53-496E-A4A1-5D5E1F3A6821}"/>
    <dgm:cxn modelId="{2886269B-A9F1-44DA-A80C-B2F6EF8F33D5}" type="presOf" srcId="{9E97A568-1BC3-4AE6-B225-F7549F36A17F}" destId="{4D165901-745E-4A35-8607-FF4D3E288409}" srcOrd="0" destOrd="4" presId="urn:microsoft.com/office/officeart/2005/8/layout/default"/>
    <dgm:cxn modelId="{3C8DDCA8-D88D-45AA-8778-5520073382B4}" srcId="{1DCCE4B3-0F28-40A0-83F9-3BDBFB39D854}" destId="{FD55EB5B-2ED8-4C4D-9591-43470CAF5D9A}" srcOrd="0" destOrd="0" parTransId="{EBBFE061-F0CC-49B0-BF31-624D7749AED4}" sibTransId="{072723CD-AD49-4EB0-9696-80029AD80CCF}"/>
    <dgm:cxn modelId="{04FB9DAC-8E3C-443C-9005-A651A1EE443E}" srcId="{E0670893-314F-4D43-BD79-F75BD0C9DC38}" destId="{ECC867FA-EFE6-4D52-B09E-701A88BBEC92}" srcOrd="1" destOrd="0" parTransId="{7075BC7E-3829-4C85-8B01-84A8FB3EB519}" sibTransId="{74BBFA5E-4009-4E4A-8986-D5351B527EAB}"/>
    <dgm:cxn modelId="{1372D3B7-468F-4782-BE4A-ED589C5B43E8}" type="presOf" srcId="{71D6D32A-4027-4995-B152-6031CAAF9EED}" destId="{6649DABA-72E0-4284-BDAA-E47A0C2B17F5}" srcOrd="0" destOrd="2" presId="urn:microsoft.com/office/officeart/2005/8/layout/default"/>
    <dgm:cxn modelId="{F29C4CBA-CA9F-49C5-B840-FD571870E57B}" type="presOf" srcId="{5153A707-7C62-4662-B002-A197F3EF53A6}" destId="{6649DABA-72E0-4284-BDAA-E47A0C2B17F5}" srcOrd="0" destOrd="1" presId="urn:microsoft.com/office/officeart/2005/8/layout/default"/>
    <dgm:cxn modelId="{CE22B7BC-51E3-45A2-916F-430D1702738B}" type="presOf" srcId="{1DCCE4B3-0F28-40A0-83F9-3BDBFB39D854}" destId="{B119AAC4-D017-429A-B069-C311EE67B4A1}" srcOrd="0" destOrd="0" presId="urn:microsoft.com/office/officeart/2005/8/layout/default"/>
    <dgm:cxn modelId="{FE9E05BD-D896-47A9-8149-D5C31E51FB8B}" srcId="{EEB99A76-0EB0-439A-BAAD-9ACD41F5AC09}" destId="{930AFE1B-0D46-4A3D-9426-E7D0320A77CF}" srcOrd="2" destOrd="0" parTransId="{B4BEEE2F-B0BD-498E-A44D-4397C1B8C3FB}" sibTransId="{08D07373-132F-482E-AD96-A739127553EA}"/>
    <dgm:cxn modelId="{475474C1-0AD5-455C-8E0E-18364C3161E9}" srcId="{1DCCE4B3-0F28-40A0-83F9-3BDBFB39D854}" destId="{E0A95E96-D18C-4D15-A671-C93050F6A190}" srcOrd="3" destOrd="0" parTransId="{49046C97-65D9-430F-B921-F20518442C98}" sibTransId="{A04433E4-CBBC-4C19-8EBC-717A4FD22187}"/>
    <dgm:cxn modelId="{D4D99AC1-BB0B-4698-A01B-792CB5C148B3}" type="presOf" srcId="{E0A95E96-D18C-4D15-A671-C93050F6A190}" destId="{B119AAC4-D017-429A-B069-C311EE67B4A1}" srcOrd="0" destOrd="4" presId="urn:microsoft.com/office/officeart/2005/8/layout/default"/>
    <dgm:cxn modelId="{9AAF10C5-A2D5-41F3-BCCD-93C067A48788}" srcId="{D8924255-C7D5-4228-A5E4-DF6E692476DF}" destId="{1A1E1A01-2261-4F29-B5AB-61019A4928D7}" srcOrd="4" destOrd="0" parTransId="{B7F7B0A4-A80D-4CB3-94EF-46CDAD194F8E}" sibTransId="{BBD30372-12C0-44B4-A3F1-235BA04B3700}"/>
    <dgm:cxn modelId="{B7CE8CC8-7687-4D68-A436-3786A899D12A}" type="presOf" srcId="{EEB99A76-0EB0-439A-BAAD-9ACD41F5AC09}" destId="{4D165901-745E-4A35-8607-FF4D3E288409}" srcOrd="0" destOrd="0" presId="urn:microsoft.com/office/officeart/2005/8/layout/default"/>
    <dgm:cxn modelId="{E63CC1D4-6259-452D-949E-7A45C378A025}" type="presOf" srcId="{FD55EB5B-2ED8-4C4D-9591-43470CAF5D9A}" destId="{B119AAC4-D017-429A-B069-C311EE67B4A1}" srcOrd="0" destOrd="1" presId="urn:microsoft.com/office/officeart/2005/8/layout/default"/>
    <dgm:cxn modelId="{A840F6DB-7004-4AE9-BC9C-D14A586C1FAC}" type="presOf" srcId="{F6CC9B91-1419-4848-B601-3FB6A177F960}" destId="{6649DABA-72E0-4284-BDAA-E47A0C2B17F5}" srcOrd="0" destOrd="0" presId="urn:microsoft.com/office/officeart/2005/8/layout/default"/>
    <dgm:cxn modelId="{DCA31ADC-AB0F-487B-8E1B-387D48AD150F}" srcId="{D8924255-C7D5-4228-A5E4-DF6E692476DF}" destId="{1DCCE4B3-0F28-40A0-83F9-3BDBFB39D854}" srcOrd="3" destOrd="0" parTransId="{A3FF7D9A-7CA0-45C2-B094-F3B2CDF25FCD}" sibTransId="{3239E5B3-A088-4E4E-A973-C4A9ED4D9075}"/>
    <dgm:cxn modelId="{A2ECD1DD-F6A8-4E91-98DE-FF0689059D93}" srcId="{D8924255-C7D5-4228-A5E4-DF6E692476DF}" destId="{E0670893-314F-4D43-BD79-F75BD0C9DC38}" srcOrd="1" destOrd="0" parTransId="{08B95ECF-548E-4C47-BEC0-D005D13A7B21}" sibTransId="{8FCDAB0A-52AA-4094-B4B8-D2DE491A909E}"/>
    <dgm:cxn modelId="{F7B23AE6-4613-4E86-9146-1BD7A8580B65}" srcId="{D8924255-C7D5-4228-A5E4-DF6E692476DF}" destId="{F6CC9B91-1419-4848-B601-3FB6A177F960}" srcOrd="2" destOrd="0" parTransId="{992810DE-4925-427A-8226-AFB7A241EF35}" sibTransId="{A769C79E-7065-465B-A160-96C12CF7C318}"/>
    <dgm:cxn modelId="{B8C187EE-F808-4C89-9392-39DCD7601498}" srcId="{1DCCE4B3-0F28-40A0-83F9-3BDBFB39D854}" destId="{33053372-9154-4FA7-87F3-3B66291C2910}" srcOrd="2" destOrd="0" parTransId="{3CF25F2B-3D0A-4E71-BF02-7992549B63DB}" sibTransId="{F6C764D7-E46F-4DF5-A3C6-D47C7201B811}"/>
    <dgm:cxn modelId="{E1F172A6-CB02-4DBA-BEAC-387AEBC81A85}" type="presParOf" srcId="{CBBCBC07-EC76-4869-B552-262697C17763}" destId="{4D165901-745E-4A35-8607-FF4D3E288409}" srcOrd="0" destOrd="0" presId="urn:microsoft.com/office/officeart/2005/8/layout/default"/>
    <dgm:cxn modelId="{8FE12153-65C4-432E-832F-E65CF93C23BE}" type="presParOf" srcId="{CBBCBC07-EC76-4869-B552-262697C17763}" destId="{016490B5-2AF7-4AEA-BC9F-EC80BE3C41D1}" srcOrd="1" destOrd="0" presId="urn:microsoft.com/office/officeart/2005/8/layout/default"/>
    <dgm:cxn modelId="{4D21E9D4-124E-4DA6-B5A5-D682BF590027}" type="presParOf" srcId="{CBBCBC07-EC76-4869-B552-262697C17763}" destId="{EA95B292-F6D3-4979-A2A0-987638F63285}" srcOrd="2" destOrd="0" presId="urn:microsoft.com/office/officeart/2005/8/layout/default"/>
    <dgm:cxn modelId="{6573E354-9207-4D02-A577-13A3337FBDC1}" type="presParOf" srcId="{CBBCBC07-EC76-4869-B552-262697C17763}" destId="{23E457CA-49CE-46D0-9DD6-0A2176CE734F}" srcOrd="3" destOrd="0" presId="urn:microsoft.com/office/officeart/2005/8/layout/default"/>
    <dgm:cxn modelId="{B1C6726C-26C0-4D37-B3EC-14715D9969F9}" type="presParOf" srcId="{CBBCBC07-EC76-4869-B552-262697C17763}" destId="{6649DABA-72E0-4284-BDAA-E47A0C2B17F5}" srcOrd="4" destOrd="0" presId="urn:microsoft.com/office/officeart/2005/8/layout/default"/>
    <dgm:cxn modelId="{E71AA0AE-A3B7-46B3-9CC9-3B07AD3245AA}" type="presParOf" srcId="{CBBCBC07-EC76-4869-B552-262697C17763}" destId="{C5FBD0E9-3BFC-4DE6-8695-CA8184C4764F}" srcOrd="5" destOrd="0" presId="urn:microsoft.com/office/officeart/2005/8/layout/default"/>
    <dgm:cxn modelId="{30A3C22E-236C-4F2A-95C7-81CA3DD48E58}" type="presParOf" srcId="{CBBCBC07-EC76-4869-B552-262697C17763}" destId="{B119AAC4-D017-429A-B069-C311EE67B4A1}" srcOrd="6" destOrd="0" presId="urn:microsoft.com/office/officeart/2005/8/layout/default"/>
    <dgm:cxn modelId="{FB32B460-649B-4E21-9D13-5F3016DB1EE3}" type="presParOf" srcId="{CBBCBC07-EC76-4869-B552-262697C17763}" destId="{A6EACAD2-B440-489A-BD7E-85A5225C8668}" srcOrd="7" destOrd="0" presId="urn:microsoft.com/office/officeart/2005/8/layout/default"/>
    <dgm:cxn modelId="{773D8E6F-C479-4E86-A471-4996DB23495D}" type="presParOf" srcId="{CBBCBC07-EC76-4869-B552-262697C17763}" destId="{BB346742-F866-4E30-8745-5BA52B9C2B22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8924255-C7D5-4228-A5E4-DF6E692476DF}" type="doc">
      <dgm:prSet loTypeId="urn:microsoft.com/office/officeart/2005/8/layout/default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1DCCE4B3-0F28-40A0-83F9-3BDBFB39D854}">
      <dgm:prSet phldrT="[Text]"/>
      <dgm:spPr/>
      <dgm:t>
        <a:bodyPr/>
        <a:lstStyle/>
        <a:p>
          <a:r>
            <a:rPr lang="en-US" b="0" noProof="0" dirty="0">
              <a:solidFill>
                <a:schemeClr val="tx1"/>
              </a:solidFill>
            </a:rPr>
            <a:t>Medical Device Cybersecurity</a:t>
          </a:r>
          <a:endParaRPr lang="en-US" b="0" dirty="0">
            <a:solidFill>
              <a:schemeClr val="tx1"/>
            </a:solidFill>
          </a:endParaRPr>
        </a:p>
      </dgm:t>
    </dgm:pt>
    <dgm:pt modelId="{A3FF7D9A-7CA0-45C2-B094-F3B2CDF25FCD}" type="parTrans" cxnId="{DCA31ADC-AB0F-487B-8E1B-387D48AD150F}">
      <dgm:prSet/>
      <dgm:spPr/>
      <dgm:t>
        <a:bodyPr/>
        <a:lstStyle/>
        <a:p>
          <a:endParaRPr lang="en-US"/>
        </a:p>
      </dgm:t>
    </dgm:pt>
    <dgm:pt modelId="{3239E5B3-A088-4E4E-A973-C4A9ED4D9075}" type="sibTrans" cxnId="{DCA31ADC-AB0F-487B-8E1B-387D48AD150F}">
      <dgm:prSet/>
      <dgm:spPr/>
      <dgm:t>
        <a:bodyPr/>
        <a:lstStyle/>
        <a:p>
          <a:endParaRPr lang="en-US"/>
        </a:p>
      </dgm:t>
    </dgm:pt>
    <dgm:pt modelId="{70090215-0876-4261-8F5B-D31C9C737539}">
      <dgm:prSet phldrT="[Text]"/>
      <dgm:spPr/>
      <dgm:t>
        <a:bodyPr/>
        <a:lstStyle/>
        <a:p>
          <a:r>
            <a:rPr lang="en-US" dirty="0"/>
            <a:t>Policy development and support</a:t>
          </a:r>
          <a:endParaRPr lang="en-US" noProof="0" dirty="0"/>
        </a:p>
      </dgm:t>
    </dgm:pt>
    <dgm:pt modelId="{C092A298-199F-40CD-9AA1-6B98517ECF39}" type="parTrans" cxnId="{CB6D6C95-3B7C-4514-91E3-1460C2BAD24D}">
      <dgm:prSet/>
      <dgm:spPr/>
      <dgm:t>
        <a:bodyPr/>
        <a:lstStyle/>
        <a:p>
          <a:endParaRPr lang="en-US"/>
        </a:p>
      </dgm:t>
    </dgm:pt>
    <dgm:pt modelId="{32301636-838B-48CF-8B68-3F02647E2D5A}" type="sibTrans" cxnId="{CB6D6C95-3B7C-4514-91E3-1460C2BAD24D}">
      <dgm:prSet/>
      <dgm:spPr/>
      <dgm:t>
        <a:bodyPr/>
        <a:lstStyle/>
        <a:p>
          <a:endParaRPr lang="en-US"/>
        </a:p>
      </dgm:t>
    </dgm:pt>
    <dgm:pt modelId="{3F3D3AE0-6035-4077-8E96-CF087B37957E}">
      <dgm:prSet/>
      <dgm:spPr/>
      <dgm:t>
        <a:bodyPr/>
        <a:lstStyle/>
        <a:p>
          <a:r>
            <a:rPr lang="en-US" dirty="0"/>
            <a:t>IMDRF collaborations</a:t>
          </a:r>
        </a:p>
      </dgm:t>
    </dgm:pt>
    <dgm:pt modelId="{9BF6D8FD-8D43-4FC2-8DE1-1947D254EA5C}" type="parTrans" cxnId="{A7E73122-48B5-4C80-A2D4-40BA6EC0612C}">
      <dgm:prSet/>
      <dgm:spPr/>
      <dgm:t>
        <a:bodyPr/>
        <a:lstStyle/>
        <a:p>
          <a:endParaRPr lang="en-US"/>
        </a:p>
      </dgm:t>
    </dgm:pt>
    <dgm:pt modelId="{BC379958-D32C-42B8-8531-2685FE6F0AD0}" type="sibTrans" cxnId="{A7E73122-48B5-4C80-A2D4-40BA6EC0612C}">
      <dgm:prSet/>
      <dgm:spPr/>
      <dgm:t>
        <a:bodyPr/>
        <a:lstStyle/>
        <a:p>
          <a:endParaRPr lang="en-US"/>
        </a:p>
      </dgm:t>
    </dgm:pt>
    <dgm:pt modelId="{A249AEE0-8408-4BFD-A263-67A32183B91A}">
      <dgm:prSet/>
      <dgm:spPr/>
      <dgm:t>
        <a:bodyPr/>
        <a:lstStyle/>
        <a:p>
          <a:r>
            <a:rPr lang="en-US" dirty="0"/>
            <a:t>External engagement/ collaboration</a:t>
          </a:r>
        </a:p>
      </dgm:t>
    </dgm:pt>
    <dgm:pt modelId="{4C36BD6B-C528-4809-AFF9-3E761097E775}" type="parTrans" cxnId="{636A796C-1466-4D40-9715-1108EB4AC768}">
      <dgm:prSet/>
      <dgm:spPr/>
      <dgm:t>
        <a:bodyPr/>
        <a:lstStyle/>
        <a:p>
          <a:endParaRPr lang="en-US"/>
        </a:p>
      </dgm:t>
    </dgm:pt>
    <dgm:pt modelId="{8E5C8555-03AA-47D4-98C6-9DA28FA1A40C}" type="sibTrans" cxnId="{636A796C-1466-4D40-9715-1108EB4AC768}">
      <dgm:prSet/>
      <dgm:spPr/>
      <dgm:t>
        <a:bodyPr/>
        <a:lstStyle/>
        <a:p>
          <a:endParaRPr lang="en-US"/>
        </a:p>
      </dgm:t>
    </dgm:pt>
    <dgm:pt modelId="{D4AA038A-1E9E-4A98-8476-B1A96D35826C}">
      <dgm:prSet phldrT="[Text]"/>
      <dgm:spPr/>
      <dgm:t>
        <a:bodyPr/>
        <a:lstStyle/>
        <a:p>
          <a:r>
            <a:rPr lang="en-US" noProof="0">
              <a:solidFill>
                <a:schemeClr val="tx1"/>
              </a:solidFill>
            </a:rPr>
            <a:t>Advancing Regulatory  Science</a:t>
          </a:r>
          <a:endParaRPr lang="en-US" dirty="0">
            <a:solidFill>
              <a:schemeClr val="tx1"/>
            </a:solidFill>
          </a:endParaRPr>
        </a:p>
      </dgm:t>
    </dgm:pt>
    <dgm:pt modelId="{4BA54219-3A16-4AA2-90EE-FD8B2D8B5E78}" type="parTrans" cxnId="{9AC04BB4-4DF2-49A1-964F-D1B89222BC1E}">
      <dgm:prSet/>
      <dgm:spPr/>
      <dgm:t>
        <a:bodyPr/>
        <a:lstStyle/>
        <a:p>
          <a:endParaRPr lang="en-US"/>
        </a:p>
      </dgm:t>
    </dgm:pt>
    <dgm:pt modelId="{627B5290-A281-4CA6-A8A3-2CE5A14F48F5}" type="sibTrans" cxnId="{9AC04BB4-4DF2-49A1-964F-D1B89222BC1E}">
      <dgm:prSet/>
      <dgm:spPr/>
      <dgm:t>
        <a:bodyPr/>
        <a:lstStyle/>
        <a:p>
          <a:endParaRPr lang="en-US"/>
        </a:p>
      </dgm:t>
    </dgm:pt>
    <dgm:pt modelId="{73B35B17-CEEC-41A7-B535-2024D9FBE603}">
      <dgm:prSet phldrT="[Text]"/>
      <dgm:spPr/>
      <dgm:t>
        <a:bodyPr/>
        <a:lstStyle/>
        <a:p>
          <a:r>
            <a:rPr lang="en-US" noProof="0">
              <a:solidFill>
                <a:schemeClr val="tx1"/>
              </a:solidFill>
            </a:rPr>
            <a:t>Regulatory Review Support</a:t>
          </a:r>
          <a:endParaRPr lang="en-US" dirty="0">
            <a:solidFill>
              <a:schemeClr val="tx1"/>
            </a:solidFill>
          </a:endParaRPr>
        </a:p>
      </dgm:t>
    </dgm:pt>
    <dgm:pt modelId="{77FCAE98-26AE-46F9-9661-D21CD62A1E75}" type="parTrans" cxnId="{D9C1AB03-46BE-4C80-9E3E-4C4E5D259496}">
      <dgm:prSet/>
      <dgm:spPr/>
      <dgm:t>
        <a:bodyPr/>
        <a:lstStyle/>
        <a:p>
          <a:endParaRPr lang="en-US"/>
        </a:p>
      </dgm:t>
    </dgm:pt>
    <dgm:pt modelId="{754EE782-B79E-4ACA-96CD-EAEB6CBDC3C3}" type="sibTrans" cxnId="{D9C1AB03-46BE-4C80-9E3E-4C4E5D259496}">
      <dgm:prSet/>
      <dgm:spPr/>
      <dgm:t>
        <a:bodyPr/>
        <a:lstStyle/>
        <a:p>
          <a:endParaRPr lang="en-US"/>
        </a:p>
      </dgm:t>
    </dgm:pt>
    <dgm:pt modelId="{2E8B640F-8695-4571-9CAD-83A06BD6BED7}">
      <dgm:prSet phldrT="[Text]"/>
      <dgm:spPr/>
      <dgm:t>
        <a:bodyPr/>
        <a:lstStyle/>
        <a:p>
          <a:r>
            <a:rPr lang="en-US" noProof="0" dirty="0">
              <a:solidFill>
                <a:schemeClr val="tx1"/>
              </a:solidFill>
            </a:rPr>
            <a:t>Advanced Manufacturing</a:t>
          </a:r>
          <a:endParaRPr lang="en-US" dirty="0">
            <a:solidFill>
              <a:schemeClr val="tx1"/>
            </a:solidFill>
          </a:endParaRPr>
        </a:p>
      </dgm:t>
    </dgm:pt>
    <dgm:pt modelId="{57AFA5A9-26D5-43AC-AA87-71C960EFEB0A}" type="parTrans" cxnId="{A22E49CB-34BD-41ED-9766-E3F21ABD23B8}">
      <dgm:prSet/>
      <dgm:spPr/>
      <dgm:t>
        <a:bodyPr/>
        <a:lstStyle/>
        <a:p>
          <a:endParaRPr lang="en-US"/>
        </a:p>
      </dgm:t>
    </dgm:pt>
    <dgm:pt modelId="{FB141011-1A0B-4A15-B9B3-703626D8F7F3}" type="sibTrans" cxnId="{A22E49CB-34BD-41ED-9766-E3F21ABD23B8}">
      <dgm:prSet/>
      <dgm:spPr/>
      <dgm:t>
        <a:bodyPr/>
        <a:lstStyle/>
        <a:p>
          <a:endParaRPr lang="en-US"/>
        </a:p>
      </dgm:t>
    </dgm:pt>
    <dgm:pt modelId="{8026F9F5-A76F-437B-A6AB-789763C02A5B}">
      <dgm:prSet phldrT="[Text]"/>
      <dgm:spPr/>
      <dgm:t>
        <a:bodyPr/>
        <a:lstStyle/>
        <a:p>
          <a:r>
            <a:rPr lang="en-US" noProof="0">
              <a:solidFill>
                <a:schemeClr val="tx1"/>
              </a:solidFill>
            </a:rPr>
            <a:t>Advanced Clinical S</a:t>
          </a:r>
          <a:r>
            <a:rPr lang="en-US">
              <a:solidFill>
                <a:schemeClr val="tx1"/>
              </a:solidFill>
            </a:rPr>
            <a:t>tudies and RWE</a:t>
          </a:r>
          <a:endParaRPr lang="en-US" dirty="0">
            <a:solidFill>
              <a:schemeClr val="tx1"/>
            </a:solidFill>
          </a:endParaRPr>
        </a:p>
      </dgm:t>
    </dgm:pt>
    <dgm:pt modelId="{37C2026F-7D1A-4EED-BC48-5781D0888DB7}" type="parTrans" cxnId="{5FEAB833-8541-44E6-BCFA-5F8F05FE1E7F}">
      <dgm:prSet/>
      <dgm:spPr/>
      <dgm:t>
        <a:bodyPr/>
        <a:lstStyle/>
        <a:p>
          <a:endParaRPr lang="en-US"/>
        </a:p>
      </dgm:t>
    </dgm:pt>
    <dgm:pt modelId="{1CF4B598-7403-43FD-B778-F6988E7DFDC9}" type="sibTrans" cxnId="{5FEAB833-8541-44E6-BCFA-5F8F05FE1E7F}">
      <dgm:prSet/>
      <dgm:spPr/>
      <dgm:t>
        <a:bodyPr/>
        <a:lstStyle/>
        <a:p>
          <a:endParaRPr lang="en-US"/>
        </a:p>
      </dgm:t>
    </dgm:pt>
    <dgm:pt modelId="{81BDAAB8-EC50-4EB4-8619-276B817F43FC}">
      <dgm:prSet phldrT="[Text]"/>
      <dgm:spPr/>
      <dgm:t>
        <a:bodyPr/>
        <a:lstStyle/>
        <a:p>
          <a:r>
            <a:rPr lang="en-US" dirty="0"/>
            <a:t>Digital Pathology</a:t>
          </a:r>
        </a:p>
      </dgm:t>
    </dgm:pt>
    <dgm:pt modelId="{3D571F3A-9BB7-44CF-9FD9-5E7482D2B4C0}" type="parTrans" cxnId="{77E9237D-8BA3-4C48-8526-AB8B130F21AE}">
      <dgm:prSet/>
      <dgm:spPr/>
      <dgm:t>
        <a:bodyPr/>
        <a:lstStyle/>
        <a:p>
          <a:endParaRPr lang="en-US"/>
        </a:p>
      </dgm:t>
    </dgm:pt>
    <dgm:pt modelId="{60BC27AA-4B24-4828-AB6D-4E849158C9D5}" type="sibTrans" cxnId="{77E9237D-8BA3-4C48-8526-AB8B130F21AE}">
      <dgm:prSet/>
      <dgm:spPr/>
      <dgm:t>
        <a:bodyPr/>
        <a:lstStyle/>
        <a:p>
          <a:endParaRPr lang="en-US"/>
        </a:p>
      </dgm:t>
    </dgm:pt>
    <dgm:pt modelId="{6B10B608-1B24-43C1-871B-35385B920609}">
      <dgm:prSet phldrT="[Text]"/>
      <dgm:spPr/>
      <dgm:t>
        <a:bodyPr/>
        <a:lstStyle/>
        <a:p>
          <a:r>
            <a:rPr lang="en-US" dirty="0"/>
            <a:t>Day – day review support for OHTs</a:t>
          </a:r>
        </a:p>
      </dgm:t>
    </dgm:pt>
    <dgm:pt modelId="{1488EA64-6B16-403B-B565-1F0669CF347E}" type="parTrans" cxnId="{78460AB0-17EF-4BF2-A2B2-A574252D8C6C}">
      <dgm:prSet/>
      <dgm:spPr/>
      <dgm:t>
        <a:bodyPr/>
        <a:lstStyle/>
        <a:p>
          <a:endParaRPr lang="en-US"/>
        </a:p>
      </dgm:t>
    </dgm:pt>
    <dgm:pt modelId="{9935E7B6-50E4-4DCC-A659-EC3D759FBC88}" type="sibTrans" cxnId="{78460AB0-17EF-4BF2-A2B2-A574252D8C6C}">
      <dgm:prSet/>
      <dgm:spPr/>
      <dgm:t>
        <a:bodyPr/>
        <a:lstStyle/>
        <a:p>
          <a:endParaRPr lang="en-US"/>
        </a:p>
      </dgm:t>
    </dgm:pt>
    <dgm:pt modelId="{8E9F64BF-9DBF-4877-9143-7CC7F338955F}">
      <dgm:prSet phldrT="[Text]"/>
      <dgm:spPr/>
      <dgm:t>
        <a:bodyPr/>
        <a:lstStyle/>
        <a:p>
          <a:r>
            <a:rPr lang="en-US" noProof="0" dirty="0"/>
            <a:t>Case for Quality (Software in Manufacturing)</a:t>
          </a:r>
          <a:endParaRPr lang="en-US" dirty="0"/>
        </a:p>
      </dgm:t>
    </dgm:pt>
    <dgm:pt modelId="{E24A72F6-CB9C-4282-A729-24EF44665EAE}" type="parTrans" cxnId="{3A3D25C8-2CBE-4DCD-A27F-3E1BFDFC04E8}">
      <dgm:prSet/>
      <dgm:spPr/>
      <dgm:t>
        <a:bodyPr/>
        <a:lstStyle/>
        <a:p>
          <a:endParaRPr lang="en-US"/>
        </a:p>
      </dgm:t>
    </dgm:pt>
    <dgm:pt modelId="{3F05ECEF-E81C-4741-8AE5-D7D7CA56D9FF}" type="sibTrans" cxnId="{3A3D25C8-2CBE-4DCD-A27F-3E1BFDFC04E8}">
      <dgm:prSet/>
      <dgm:spPr/>
      <dgm:t>
        <a:bodyPr/>
        <a:lstStyle/>
        <a:p>
          <a:endParaRPr lang="en-US"/>
        </a:p>
      </dgm:t>
    </dgm:pt>
    <dgm:pt modelId="{C12F9D74-2F44-4FFC-8EDB-DBF83EB6060A}">
      <dgm:prSet phldrT="[Text]"/>
      <dgm:spPr/>
      <dgm:t>
        <a:bodyPr/>
        <a:lstStyle/>
        <a:p>
          <a:r>
            <a:rPr lang="en-US" noProof="0"/>
            <a:t>In silico modeling</a:t>
          </a:r>
          <a:endParaRPr lang="en-US" dirty="0"/>
        </a:p>
      </dgm:t>
    </dgm:pt>
    <dgm:pt modelId="{F495C721-A951-40E3-8916-33391CBC0834}" type="parTrans" cxnId="{73B5FBAD-5386-4AA0-A9DD-20B496DA5A68}">
      <dgm:prSet/>
      <dgm:spPr/>
      <dgm:t>
        <a:bodyPr/>
        <a:lstStyle/>
        <a:p>
          <a:endParaRPr lang="en-US"/>
        </a:p>
      </dgm:t>
    </dgm:pt>
    <dgm:pt modelId="{C1C6D40D-51FE-46D3-9C26-833ACA1F8D47}" type="sibTrans" cxnId="{73B5FBAD-5386-4AA0-A9DD-20B496DA5A68}">
      <dgm:prSet/>
      <dgm:spPr/>
      <dgm:t>
        <a:bodyPr/>
        <a:lstStyle/>
        <a:p>
          <a:endParaRPr lang="en-US"/>
        </a:p>
      </dgm:t>
    </dgm:pt>
    <dgm:pt modelId="{83D0A1A1-A760-45F3-A981-1F7030191BEC}">
      <dgm:prSet/>
      <dgm:spPr/>
      <dgm:t>
        <a:bodyPr/>
        <a:lstStyle/>
        <a:p>
          <a:r>
            <a:rPr lang="en-US" noProof="0" dirty="0"/>
            <a:t>Use of RWE </a:t>
          </a:r>
          <a:r>
            <a:rPr lang="en-US" dirty="0"/>
            <a:t>in DH devices </a:t>
          </a:r>
        </a:p>
      </dgm:t>
    </dgm:pt>
    <dgm:pt modelId="{4672EE4C-F6D8-43B8-9B58-EDB670F4BEF2}" type="parTrans" cxnId="{DC7E05DD-DC7D-4D6F-86E1-608D1D977B65}">
      <dgm:prSet/>
      <dgm:spPr/>
      <dgm:t>
        <a:bodyPr/>
        <a:lstStyle/>
        <a:p>
          <a:endParaRPr lang="en-US"/>
        </a:p>
      </dgm:t>
    </dgm:pt>
    <dgm:pt modelId="{247283E5-EFEA-486B-98FE-512B4A097AE1}" type="sibTrans" cxnId="{DC7E05DD-DC7D-4D6F-86E1-608D1D977B65}">
      <dgm:prSet/>
      <dgm:spPr/>
      <dgm:t>
        <a:bodyPr/>
        <a:lstStyle/>
        <a:p>
          <a:endParaRPr lang="en-US"/>
        </a:p>
      </dgm:t>
    </dgm:pt>
    <dgm:pt modelId="{F43F48D5-FF37-4AC0-B827-144451C5C930}">
      <dgm:prSet/>
      <dgm:spPr/>
      <dgm:t>
        <a:bodyPr/>
        <a:lstStyle/>
        <a:p>
          <a:r>
            <a:rPr lang="en-US" noProof="0"/>
            <a:t>RWE from digital health technology</a:t>
          </a:r>
          <a:endParaRPr lang="en-US" noProof="0" dirty="0"/>
        </a:p>
      </dgm:t>
    </dgm:pt>
    <dgm:pt modelId="{A9651352-60C0-43BC-B521-AC400DF2CCAA}" type="parTrans" cxnId="{C19D83F0-9665-4D22-ACE6-EACD2F87C170}">
      <dgm:prSet/>
      <dgm:spPr/>
      <dgm:t>
        <a:bodyPr/>
        <a:lstStyle/>
        <a:p>
          <a:endParaRPr lang="en-US"/>
        </a:p>
      </dgm:t>
    </dgm:pt>
    <dgm:pt modelId="{7D33A510-8519-4A00-895A-652156F335C8}" type="sibTrans" cxnId="{C19D83F0-9665-4D22-ACE6-EACD2F87C170}">
      <dgm:prSet/>
      <dgm:spPr/>
      <dgm:t>
        <a:bodyPr/>
        <a:lstStyle/>
        <a:p>
          <a:endParaRPr lang="en-US"/>
        </a:p>
      </dgm:t>
    </dgm:pt>
    <dgm:pt modelId="{DCB6F62C-1DA8-4CA7-8EC6-3C112D6F5151}">
      <dgm:prSet phldrT="[Text]"/>
      <dgm:spPr/>
      <dgm:t>
        <a:bodyPr/>
        <a:lstStyle/>
        <a:p>
          <a:r>
            <a:rPr lang="en-US" noProof="0" dirty="0"/>
            <a:t>Software used to manufacture medical device</a:t>
          </a:r>
          <a:endParaRPr lang="en-US" dirty="0"/>
        </a:p>
      </dgm:t>
    </dgm:pt>
    <dgm:pt modelId="{F7BCC38E-70D2-4EAD-81A9-28D3A854E6D8}" type="parTrans" cxnId="{8727964A-1550-4694-A766-23CCC1E4434A}">
      <dgm:prSet/>
      <dgm:spPr/>
      <dgm:t>
        <a:bodyPr/>
        <a:lstStyle/>
        <a:p>
          <a:endParaRPr lang="en-US"/>
        </a:p>
      </dgm:t>
    </dgm:pt>
    <dgm:pt modelId="{80CB1A15-1F5C-489C-849D-2611EBB5EE20}" type="sibTrans" cxnId="{8727964A-1550-4694-A766-23CCC1E4434A}">
      <dgm:prSet/>
      <dgm:spPr/>
      <dgm:t>
        <a:bodyPr/>
        <a:lstStyle/>
        <a:p>
          <a:endParaRPr lang="en-US"/>
        </a:p>
      </dgm:t>
    </dgm:pt>
    <dgm:pt modelId="{25429E67-6F58-440F-8ECD-BF79BA5C491A}">
      <dgm:prSet phldrT="[Text]"/>
      <dgm:spPr/>
      <dgm:t>
        <a:bodyPr/>
        <a:lstStyle/>
        <a:p>
          <a:r>
            <a:rPr lang="en-US" noProof="0" dirty="0"/>
            <a:t>Digital twin for manufacturing</a:t>
          </a:r>
          <a:endParaRPr lang="en-US" dirty="0"/>
        </a:p>
      </dgm:t>
    </dgm:pt>
    <dgm:pt modelId="{EC162E5A-A147-4C58-8060-762B5142DC61}" type="parTrans" cxnId="{A508B8F1-5128-4993-864F-D8DDCA1A71E1}">
      <dgm:prSet/>
      <dgm:spPr/>
      <dgm:t>
        <a:bodyPr/>
        <a:lstStyle/>
        <a:p>
          <a:endParaRPr lang="en-US"/>
        </a:p>
      </dgm:t>
    </dgm:pt>
    <dgm:pt modelId="{ED6DDC16-319C-453C-BF7A-41A5FD41FF86}" type="sibTrans" cxnId="{A508B8F1-5128-4993-864F-D8DDCA1A71E1}">
      <dgm:prSet/>
      <dgm:spPr/>
      <dgm:t>
        <a:bodyPr/>
        <a:lstStyle/>
        <a:p>
          <a:endParaRPr lang="en-US"/>
        </a:p>
      </dgm:t>
    </dgm:pt>
    <dgm:pt modelId="{D497B45E-F198-49C5-80A1-059408B991A7}">
      <dgm:prSet phldrT="[Text]"/>
      <dgm:spPr/>
      <dgm:t>
        <a:bodyPr/>
        <a:lstStyle/>
        <a:p>
          <a:r>
            <a:rPr lang="en-US" dirty="0"/>
            <a:t>Implement DH policies</a:t>
          </a:r>
        </a:p>
      </dgm:t>
    </dgm:pt>
    <dgm:pt modelId="{FA68C8C0-40E1-4379-9072-CCB171421873}" type="parTrans" cxnId="{109DFF5E-A0C2-40BE-B284-6519D071C76D}">
      <dgm:prSet/>
      <dgm:spPr/>
      <dgm:t>
        <a:bodyPr/>
        <a:lstStyle/>
        <a:p>
          <a:endParaRPr lang="en-US"/>
        </a:p>
      </dgm:t>
    </dgm:pt>
    <dgm:pt modelId="{2E8625C6-DF8D-4C4F-8063-CBEAC60465A3}" type="sibTrans" cxnId="{109DFF5E-A0C2-40BE-B284-6519D071C76D}">
      <dgm:prSet/>
      <dgm:spPr/>
      <dgm:t>
        <a:bodyPr/>
        <a:lstStyle/>
        <a:p>
          <a:endParaRPr lang="en-US"/>
        </a:p>
      </dgm:t>
    </dgm:pt>
    <dgm:pt modelId="{842173D1-0262-4AC7-94BB-D207058F8916}">
      <dgm:prSet phldrT="[Text]"/>
      <dgm:spPr/>
      <dgm:t>
        <a:bodyPr/>
        <a:lstStyle/>
        <a:p>
          <a:r>
            <a:rPr lang="en-US"/>
            <a:t>Patient-Generated Data</a:t>
          </a:r>
          <a:endParaRPr lang="en-US" dirty="0"/>
        </a:p>
      </dgm:t>
    </dgm:pt>
    <dgm:pt modelId="{2EE7A347-154B-4786-9C13-B332AB866CB2}" type="parTrans" cxnId="{2681C1F2-4F09-468C-8BA6-B5EBCEE81FA0}">
      <dgm:prSet/>
      <dgm:spPr/>
      <dgm:t>
        <a:bodyPr/>
        <a:lstStyle/>
        <a:p>
          <a:endParaRPr lang="en-US"/>
        </a:p>
      </dgm:t>
    </dgm:pt>
    <dgm:pt modelId="{18B216AA-ED41-4254-9147-4829392F33D6}" type="sibTrans" cxnId="{2681C1F2-4F09-468C-8BA6-B5EBCEE81FA0}">
      <dgm:prSet/>
      <dgm:spPr/>
      <dgm:t>
        <a:bodyPr/>
        <a:lstStyle/>
        <a:p>
          <a:endParaRPr lang="en-US"/>
        </a:p>
      </dgm:t>
    </dgm:pt>
    <dgm:pt modelId="{99932910-7B62-4C95-A67F-5031CB33C472}">
      <dgm:prSet phldrT="[Text]"/>
      <dgm:spPr/>
      <dgm:t>
        <a:bodyPr/>
        <a:lstStyle/>
        <a:p>
          <a:r>
            <a:rPr lang="en-US" dirty="0"/>
            <a:t>Virtual Reality/Augmented Reality</a:t>
          </a:r>
        </a:p>
      </dgm:t>
    </dgm:pt>
    <dgm:pt modelId="{C67F28E4-8BC4-43B4-9A30-7815654FFBF9}" type="parTrans" cxnId="{79FEE408-2B84-4FBF-AD6D-A814951CA464}">
      <dgm:prSet/>
      <dgm:spPr/>
      <dgm:t>
        <a:bodyPr/>
        <a:lstStyle/>
        <a:p>
          <a:endParaRPr lang="en-US"/>
        </a:p>
      </dgm:t>
    </dgm:pt>
    <dgm:pt modelId="{C5F66761-89D5-4920-AFE2-C764DF77F31F}" type="sibTrans" cxnId="{79FEE408-2B84-4FBF-AD6D-A814951CA464}">
      <dgm:prSet/>
      <dgm:spPr/>
      <dgm:t>
        <a:bodyPr/>
        <a:lstStyle/>
        <a:p>
          <a:endParaRPr lang="en-US"/>
        </a:p>
      </dgm:t>
    </dgm:pt>
    <dgm:pt modelId="{68943ABF-E572-4841-8351-CCA4020514A7}">
      <dgm:prSet phldrT="[Text]"/>
      <dgm:spPr/>
      <dgm:t>
        <a:bodyPr/>
        <a:lstStyle/>
        <a:p>
          <a:r>
            <a:rPr lang="en-US" dirty="0"/>
            <a:t>Training for reviewers</a:t>
          </a:r>
        </a:p>
      </dgm:t>
    </dgm:pt>
    <dgm:pt modelId="{3DBFFDA3-D3A2-45B6-90CB-C8DE4116C3C5}" type="parTrans" cxnId="{D15B2444-D0AF-483C-831E-C7847B86B813}">
      <dgm:prSet/>
      <dgm:spPr/>
      <dgm:t>
        <a:bodyPr/>
        <a:lstStyle/>
        <a:p>
          <a:endParaRPr lang="en-US"/>
        </a:p>
      </dgm:t>
    </dgm:pt>
    <dgm:pt modelId="{06E9B248-7782-4DB3-91AF-5F440224EE49}" type="sibTrans" cxnId="{D15B2444-D0AF-483C-831E-C7847B86B813}">
      <dgm:prSet/>
      <dgm:spPr/>
      <dgm:t>
        <a:bodyPr/>
        <a:lstStyle/>
        <a:p>
          <a:endParaRPr lang="en-US"/>
        </a:p>
      </dgm:t>
    </dgm:pt>
    <dgm:pt modelId="{D11F141B-6B78-436E-81AB-3F4107C6FC7C}">
      <dgm:prSet phldrT="[Text]"/>
      <dgm:spPr/>
      <dgm:t>
        <a:bodyPr/>
        <a:lstStyle/>
        <a:p>
          <a:r>
            <a:rPr lang="en-US" dirty="0"/>
            <a:t>Implement competency tiers</a:t>
          </a:r>
        </a:p>
      </dgm:t>
    </dgm:pt>
    <dgm:pt modelId="{29F8003C-DEE1-4EE2-9747-28CB700B5238}" type="parTrans" cxnId="{D801A1B3-9E66-4EBF-A8B6-0B29DE2EB254}">
      <dgm:prSet/>
      <dgm:spPr/>
      <dgm:t>
        <a:bodyPr/>
        <a:lstStyle/>
        <a:p>
          <a:endParaRPr lang="en-US"/>
        </a:p>
      </dgm:t>
    </dgm:pt>
    <dgm:pt modelId="{CF17DBBA-D36D-46C6-B4DE-D50131984103}" type="sibTrans" cxnId="{D801A1B3-9E66-4EBF-A8B6-0B29DE2EB254}">
      <dgm:prSet/>
      <dgm:spPr/>
      <dgm:t>
        <a:bodyPr/>
        <a:lstStyle/>
        <a:p>
          <a:endParaRPr lang="en-US"/>
        </a:p>
      </dgm:t>
    </dgm:pt>
    <dgm:pt modelId="{6953D880-B0C3-413C-AAF7-A15CBCFB3599}" type="pres">
      <dgm:prSet presAssocID="{D8924255-C7D5-4228-A5E4-DF6E692476DF}" presName="diagram" presStyleCnt="0">
        <dgm:presLayoutVars>
          <dgm:dir/>
          <dgm:resizeHandles val="exact"/>
        </dgm:presLayoutVars>
      </dgm:prSet>
      <dgm:spPr/>
    </dgm:pt>
    <dgm:pt modelId="{9A116ECC-49DF-42E3-AB57-954A3255D54D}" type="pres">
      <dgm:prSet presAssocID="{D4AA038A-1E9E-4A98-8476-B1A96D35826C}" presName="node" presStyleLbl="node1" presStyleIdx="0" presStyleCnt="5">
        <dgm:presLayoutVars>
          <dgm:bulletEnabled val="1"/>
        </dgm:presLayoutVars>
      </dgm:prSet>
      <dgm:spPr/>
    </dgm:pt>
    <dgm:pt modelId="{AC3D6F9D-8AF7-4F76-BDD3-C063F3200B3E}" type="pres">
      <dgm:prSet presAssocID="{627B5290-A281-4CA6-A8A3-2CE5A14F48F5}" presName="sibTrans" presStyleCnt="0"/>
      <dgm:spPr/>
    </dgm:pt>
    <dgm:pt modelId="{DBB522B8-D247-4285-BABA-C3F49727C7A6}" type="pres">
      <dgm:prSet presAssocID="{2E8B640F-8695-4571-9CAD-83A06BD6BED7}" presName="node" presStyleLbl="node1" presStyleIdx="1" presStyleCnt="5">
        <dgm:presLayoutVars>
          <dgm:bulletEnabled val="1"/>
        </dgm:presLayoutVars>
      </dgm:prSet>
      <dgm:spPr/>
    </dgm:pt>
    <dgm:pt modelId="{050662AB-93F8-496C-8F1D-B9010F1966FC}" type="pres">
      <dgm:prSet presAssocID="{FB141011-1A0B-4A15-B9B3-703626D8F7F3}" presName="sibTrans" presStyleCnt="0"/>
      <dgm:spPr/>
    </dgm:pt>
    <dgm:pt modelId="{AF2248AB-02AC-4BF7-AD13-7EDBF1BE3A70}" type="pres">
      <dgm:prSet presAssocID="{73B35B17-CEEC-41A7-B535-2024D9FBE603}" presName="node" presStyleLbl="node1" presStyleIdx="2" presStyleCnt="5">
        <dgm:presLayoutVars>
          <dgm:bulletEnabled val="1"/>
        </dgm:presLayoutVars>
      </dgm:prSet>
      <dgm:spPr/>
    </dgm:pt>
    <dgm:pt modelId="{5C9AF815-9616-4323-8DC7-DC38137E540F}" type="pres">
      <dgm:prSet presAssocID="{754EE782-B79E-4ACA-96CD-EAEB6CBDC3C3}" presName="sibTrans" presStyleCnt="0"/>
      <dgm:spPr/>
    </dgm:pt>
    <dgm:pt modelId="{03E916D8-D468-4164-BAB9-0CB5AA9C018C}" type="pres">
      <dgm:prSet presAssocID="{8026F9F5-A76F-437B-A6AB-789763C02A5B}" presName="node" presStyleLbl="node1" presStyleIdx="3" presStyleCnt="5">
        <dgm:presLayoutVars>
          <dgm:bulletEnabled val="1"/>
        </dgm:presLayoutVars>
      </dgm:prSet>
      <dgm:spPr/>
    </dgm:pt>
    <dgm:pt modelId="{53E35AFB-62BF-4D45-BB64-A3935B53BBCE}" type="pres">
      <dgm:prSet presAssocID="{1CF4B598-7403-43FD-B778-F6988E7DFDC9}" presName="sibTrans" presStyleCnt="0"/>
      <dgm:spPr/>
    </dgm:pt>
    <dgm:pt modelId="{8EF2904E-4C78-42A5-BC07-F7056139C38E}" type="pres">
      <dgm:prSet presAssocID="{1DCCE4B3-0F28-40A0-83F9-3BDBFB39D854}" presName="node" presStyleLbl="node1" presStyleIdx="4" presStyleCnt="5">
        <dgm:presLayoutVars>
          <dgm:bulletEnabled val="1"/>
        </dgm:presLayoutVars>
      </dgm:prSet>
      <dgm:spPr/>
    </dgm:pt>
  </dgm:ptLst>
  <dgm:cxnLst>
    <dgm:cxn modelId="{D9C1AB03-46BE-4C80-9E3E-4C4E5D259496}" srcId="{D8924255-C7D5-4228-A5E4-DF6E692476DF}" destId="{73B35B17-CEEC-41A7-B535-2024D9FBE603}" srcOrd="2" destOrd="0" parTransId="{77FCAE98-26AE-46F9-9661-D21CD62A1E75}" sibTransId="{754EE782-B79E-4ACA-96CD-EAEB6CBDC3C3}"/>
    <dgm:cxn modelId="{79FEE408-2B84-4FBF-AD6D-A814951CA464}" srcId="{D4AA038A-1E9E-4A98-8476-B1A96D35826C}" destId="{99932910-7B62-4C95-A67F-5031CB33C472}" srcOrd="2" destOrd="0" parTransId="{C67F28E4-8BC4-43B4-9A30-7815654FFBF9}" sibTransId="{C5F66761-89D5-4920-AFE2-C764DF77F31F}"/>
    <dgm:cxn modelId="{6327790B-C86E-403F-81FC-19AC4049E4C1}" type="presOf" srcId="{8E9F64BF-9DBF-4877-9143-7CC7F338955F}" destId="{DBB522B8-D247-4285-BABA-C3F49727C7A6}" srcOrd="0" destOrd="1" presId="urn:microsoft.com/office/officeart/2005/8/layout/default"/>
    <dgm:cxn modelId="{8D2E4F1C-2D92-4B14-8668-5C8EC7B2B6B6}" type="presOf" srcId="{F43F48D5-FF37-4AC0-B827-144451C5C930}" destId="{03E916D8-D468-4164-BAB9-0CB5AA9C018C}" srcOrd="0" destOrd="3" presId="urn:microsoft.com/office/officeart/2005/8/layout/default"/>
    <dgm:cxn modelId="{4A46D121-B7A1-4127-BF0F-F3025325C05B}" type="presOf" srcId="{D11F141B-6B78-436E-81AB-3F4107C6FC7C}" destId="{AF2248AB-02AC-4BF7-AD13-7EDBF1BE3A70}" srcOrd="0" destOrd="4" presId="urn:microsoft.com/office/officeart/2005/8/layout/default"/>
    <dgm:cxn modelId="{A7E73122-48B5-4C80-A2D4-40BA6EC0612C}" srcId="{1DCCE4B3-0F28-40A0-83F9-3BDBFB39D854}" destId="{3F3D3AE0-6035-4077-8E96-CF087B37957E}" srcOrd="1" destOrd="0" parTransId="{9BF6D8FD-8D43-4FC2-8DE1-1947D254EA5C}" sibTransId="{BC379958-D32C-42B8-8531-2685FE6F0AD0}"/>
    <dgm:cxn modelId="{3505012B-EF7B-48CE-BE7B-06E3325E7DC8}" type="presOf" srcId="{D497B45E-F198-49C5-80A1-059408B991A7}" destId="{AF2248AB-02AC-4BF7-AD13-7EDBF1BE3A70}" srcOrd="0" destOrd="2" presId="urn:microsoft.com/office/officeart/2005/8/layout/default"/>
    <dgm:cxn modelId="{7C5C302C-5A3C-4C0D-9EE3-CF6C484385CD}" type="presOf" srcId="{99932910-7B62-4C95-A67F-5031CB33C472}" destId="{9A116ECC-49DF-42E3-AB57-954A3255D54D}" srcOrd="0" destOrd="3" presId="urn:microsoft.com/office/officeart/2005/8/layout/default"/>
    <dgm:cxn modelId="{5FEAB833-8541-44E6-BCFA-5F8F05FE1E7F}" srcId="{D8924255-C7D5-4228-A5E4-DF6E692476DF}" destId="{8026F9F5-A76F-437B-A6AB-789763C02A5B}" srcOrd="3" destOrd="0" parTransId="{37C2026F-7D1A-4EED-BC48-5781D0888DB7}" sibTransId="{1CF4B598-7403-43FD-B778-F6988E7DFDC9}"/>
    <dgm:cxn modelId="{B5CB4534-D844-47B4-8BBC-113605005D1C}" type="presOf" srcId="{D4AA038A-1E9E-4A98-8476-B1A96D35826C}" destId="{9A116ECC-49DF-42E3-AB57-954A3255D54D}" srcOrd="0" destOrd="0" presId="urn:microsoft.com/office/officeart/2005/8/layout/default"/>
    <dgm:cxn modelId="{59DF8F3D-3B7E-4AC3-93CE-908B74878A98}" type="presOf" srcId="{81BDAAB8-EC50-4EB4-8619-276B817F43FC}" destId="{9A116ECC-49DF-42E3-AB57-954A3255D54D}" srcOrd="0" destOrd="1" presId="urn:microsoft.com/office/officeart/2005/8/layout/default"/>
    <dgm:cxn modelId="{109DFF5E-A0C2-40BE-B284-6519D071C76D}" srcId="{73B35B17-CEEC-41A7-B535-2024D9FBE603}" destId="{D497B45E-F198-49C5-80A1-059408B991A7}" srcOrd="1" destOrd="0" parTransId="{FA68C8C0-40E1-4379-9072-CCB171421873}" sibTransId="{2E8625C6-DF8D-4C4F-8063-CBEAC60465A3}"/>
    <dgm:cxn modelId="{D15B2444-D0AF-483C-831E-C7847B86B813}" srcId="{73B35B17-CEEC-41A7-B535-2024D9FBE603}" destId="{68943ABF-E572-4841-8351-CCA4020514A7}" srcOrd="2" destOrd="0" parTransId="{3DBFFDA3-D3A2-45B6-90CB-C8DE4116C3C5}" sibTransId="{06E9B248-7782-4DB3-91AF-5F440224EE49}"/>
    <dgm:cxn modelId="{218F484A-AD78-44D2-93F8-131731051861}" type="presOf" srcId="{83D0A1A1-A760-45F3-A981-1F7030191BEC}" destId="{03E916D8-D468-4164-BAB9-0CB5AA9C018C}" srcOrd="0" destOrd="2" presId="urn:microsoft.com/office/officeart/2005/8/layout/default"/>
    <dgm:cxn modelId="{8727964A-1550-4694-A766-23CCC1E4434A}" srcId="{2E8B640F-8695-4571-9CAD-83A06BD6BED7}" destId="{DCB6F62C-1DA8-4CA7-8EC6-3C112D6F5151}" srcOrd="1" destOrd="0" parTransId="{F7BCC38E-70D2-4EAD-81A9-28D3A854E6D8}" sibTransId="{80CB1A15-1F5C-489C-849D-2611EBB5EE20}"/>
    <dgm:cxn modelId="{636A796C-1466-4D40-9715-1108EB4AC768}" srcId="{1DCCE4B3-0F28-40A0-83F9-3BDBFB39D854}" destId="{A249AEE0-8408-4BFD-A263-67A32183B91A}" srcOrd="2" destOrd="0" parTransId="{4C36BD6B-C528-4809-AFF9-3E761097E775}" sibTransId="{8E5C8555-03AA-47D4-98C6-9DA28FA1A40C}"/>
    <dgm:cxn modelId="{E59B6973-5B9A-401D-94A5-1B1BB24C1B08}" type="presOf" srcId="{25429E67-6F58-440F-8ECD-BF79BA5C491A}" destId="{DBB522B8-D247-4285-BABA-C3F49727C7A6}" srcOrd="0" destOrd="3" presId="urn:microsoft.com/office/officeart/2005/8/layout/default"/>
    <dgm:cxn modelId="{69044274-6387-40FB-9E39-7BAA83E493CD}" type="presOf" srcId="{70090215-0876-4261-8F5B-D31C9C737539}" destId="{8EF2904E-4C78-42A5-BC07-F7056139C38E}" srcOrd="0" destOrd="1" presId="urn:microsoft.com/office/officeart/2005/8/layout/default"/>
    <dgm:cxn modelId="{ACBC827B-44DB-4CE3-90A1-FBF77671DA40}" type="presOf" srcId="{6B10B608-1B24-43C1-871B-35385B920609}" destId="{AF2248AB-02AC-4BF7-AD13-7EDBF1BE3A70}" srcOrd="0" destOrd="1" presId="urn:microsoft.com/office/officeart/2005/8/layout/default"/>
    <dgm:cxn modelId="{99FDC47C-9D8C-466A-AD37-D0E1D837EF09}" type="presOf" srcId="{1DCCE4B3-0F28-40A0-83F9-3BDBFB39D854}" destId="{8EF2904E-4C78-42A5-BC07-F7056139C38E}" srcOrd="0" destOrd="0" presId="urn:microsoft.com/office/officeart/2005/8/layout/default"/>
    <dgm:cxn modelId="{77E9237D-8BA3-4C48-8526-AB8B130F21AE}" srcId="{D4AA038A-1E9E-4A98-8476-B1A96D35826C}" destId="{81BDAAB8-EC50-4EB4-8619-276B817F43FC}" srcOrd="0" destOrd="0" parTransId="{3D571F3A-9BB7-44CF-9FD9-5E7482D2B4C0}" sibTransId="{60BC27AA-4B24-4828-AB6D-4E849158C9D5}"/>
    <dgm:cxn modelId="{E2A8BD7E-A2B0-49E2-86C2-44B57014E4BF}" type="presOf" srcId="{D8924255-C7D5-4228-A5E4-DF6E692476DF}" destId="{6953D880-B0C3-413C-AAF7-A15CBCFB3599}" srcOrd="0" destOrd="0" presId="urn:microsoft.com/office/officeart/2005/8/layout/default"/>
    <dgm:cxn modelId="{7E8E6B93-1DE2-4059-8BA2-2C7A3714524C}" type="presOf" srcId="{842173D1-0262-4AC7-94BB-D207058F8916}" destId="{9A116ECC-49DF-42E3-AB57-954A3255D54D}" srcOrd="0" destOrd="2" presId="urn:microsoft.com/office/officeart/2005/8/layout/default"/>
    <dgm:cxn modelId="{CB6D6C95-3B7C-4514-91E3-1460C2BAD24D}" srcId="{1DCCE4B3-0F28-40A0-83F9-3BDBFB39D854}" destId="{70090215-0876-4261-8F5B-D31C9C737539}" srcOrd="0" destOrd="0" parTransId="{C092A298-199F-40CD-9AA1-6B98517ECF39}" sibTransId="{32301636-838B-48CF-8B68-3F02647E2D5A}"/>
    <dgm:cxn modelId="{372A70A6-046E-424B-9666-3A709CE8FC62}" type="presOf" srcId="{8026F9F5-A76F-437B-A6AB-789763C02A5B}" destId="{03E916D8-D468-4164-BAB9-0CB5AA9C018C}" srcOrd="0" destOrd="0" presId="urn:microsoft.com/office/officeart/2005/8/layout/default"/>
    <dgm:cxn modelId="{5461B1A6-F23D-4F47-9C78-2EFBB22885A7}" type="presOf" srcId="{3F3D3AE0-6035-4077-8E96-CF087B37957E}" destId="{8EF2904E-4C78-42A5-BC07-F7056139C38E}" srcOrd="0" destOrd="2" presId="urn:microsoft.com/office/officeart/2005/8/layout/default"/>
    <dgm:cxn modelId="{73B5FBAD-5386-4AA0-A9DD-20B496DA5A68}" srcId="{8026F9F5-A76F-437B-A6AB-789763C02A5B}" destId="{C12F9D74-2F44-4FFC-8EDB-DBF83EB6060A}" srcOrd="0" destOrd="0" parTransId="{F495C721-A951-40E3-8916-33391CBC0834}" sibTransId="{C1C6D40D-51FE-46D3-9C26-833ACA1F8D47}"/>
    <dgm:cxn modelId="{78460AB0-17EF-4BF2-A2B2-A574252D8C6C}" srcId="{73B35B17-CEEC-41A7-B535-2024D9FBE603}" destId="{6B10B608-1B24-43C1-871B-35385B920609}" srcOrd="0" destOrd="0" parTransId="{1488EA64-6B16-403B-B565-1F0669CF347E}" sibTransId="{9935E7B6-50E4-4DCC-A659-EC3D759FBC88}"/>
    <dgm:cxn modelId="{D801A1B3-9E66-4EBF-A8B6-0B29DE2EB254}" srcId="{73B35B17-CEEC-41A7-B535-2024D9FBE603}" destId="{D11F141B-6B78-436E-81AB-3F4107C6FC7C}" srcOrd="3" destOrd="0" parTransId="{29F8003C-DEE1-4EE2-9747-28CB700B5238}" sibTransId="{CF17DBBA-D36D-46C6-B4DE-D50131984103}"/>
    <dgm:cxn modelId="{9AC04BB4-4DF2-49A1-964F-D1B89222BC1E}" srcId="{D8924255-C7D5-4228-A5E4-DF6E692476DF}" destId="{D4AA038A-1E9E-4A98-8476-B1A96D35826C}" srcOrd="0" destOrd="0" parTransId="{4BA54219-3A16-4AA2-90EE-FD8B2D8B5E78}" sibTransId="{627B5290-A281-4CA6-A8A3-2CE5A14F48F5}"/>
    <dgm:cxn modelId="{E7A42DC6-BD46-405A-BCB9-B23C7D852C3F}" type="presOf" srcId="{2E8B640F-8695-4571-9CAD-83A06BD6BED7}" destId="{DBB522B8-D247-4285-BABA-C3F49727C7A6}" srcOrd="0" destOrd="0" presId="urn:microsoft.com/office/officeart/2005/8/layout/default"/>
    <dgm:cxn modelId="{0611ADC7-50E6-40DA-9D05-BC590A289419}" type="presOf" srcId="{A249AEE0-8408-4BFD-A263-67A32183B91A}" destId="{8EF2904E-4C78-42A5-BC07-F7056139C38E}" srcOrd="0" destOrd="3" presId="urn:microsoft.com/office/officeart/2005/8/layout/default"/>
    <dgm:cxn modelId="{3A3D25C8-2CBE-4DCD-A27F-3E1BFDFC04E8}" srcId="{2E8B640F-8695-4571-9CAD-83A06BD6BED7}" destId="{8E9F64BF-9DBF-4877-9143-7CC7F338955F}" srcOrd="0" destOrd="0" parTransId="{E24A72F6-CB9C-4282-A729-24EF44665EAE}" sibTransId="{3F05ECEF-E81C-4741-8AE5-D7D7CA56D9FF}"/>
    <dgm:cxn modelId="{A22E49CB-34BD-41ED-9766-E3F21ABD23B8}" srcId="{D8924255-C7D5-4228-A5E4-DF6E692476DF}" destId="{2E8B640F-8695-4571-9CAD-83A06BD6BED7}" srcOrd="1" destOrd="0" parTransId="{57AFA5A9-26D5-43AC-AA87-71C960EFEB0A}" sibTransId="{FB141011-1A0B-4A15-B9B3-703626D8F7F3}"/>
    <dgm:cxn modelId="{979844CF-A8EE-4D82-9B73-324471B2DDC3}" type="presOf" srcId="{73B35B17-CEEC-41A7-B535-2024D9FBE603}" destId="{AF2248AB-02AC-4BF7-AD13-7EDBF1BE3A70}" srcOrd="0" destOrd="0" presId="urn:microsoft.com/office/officeart/2005/8/layout/default"/>
    <dgm:cxn modelId="{DCA31ADC-AB0F-487B-8E1B-387D48AD150F}" srcId="{D8924255-C7D5-4228-A5E4-DF6E692476DF}" destId="{1DCCE4B3-0F28-40A0-83F9-3BDBFB39D854}" srcOrd="4" destOrd="0" parTransId="{A3FF7D9A-7CA0-45C2-B094-F3B2CDF25FCD}" sibTransId="{3239E5B3-A088-4E4E-A973-C4A9ED4D9075}"/>
    <dgm:cxn modelId="{7316E5DC-CF90-4013-8736-E83215AB1407}" type="presOf" srcId="{C12F9D74-2F44-4FFC-8EDB-DBF83EB6060A}" destId="{03E916D8-D468-4164-BAB9-0CB5AA9C018C}" srcOrd="0" destOrd="1" presId="urn:microsoft.com/office/officeart/2005/8/layout/default"/>
    <dgm:cxn modelId="{DC7E05DD-DC7D-4D6F-86E1-608D1D977B65}" srcId="{8026F9F5-A76F-437B-A6AB-789763C02A5B}" destId="{83D0A1A1-A760-45F3-A981-1F7030191BEC}" srcOrd="1" destOrd="0" parTransId="{4672EE4C-F6D8-43B8-9B58-EDB670F4BEF2}" sibTransId="{247283E5-EFEA-486B-98FE-512B4A097AE1}"/>
    <dgm:cxn modelId="{C3D0BCE1-2B96-442A-940F-F468210A766D}" type="presOf" srcId="{DCB6F62C-1DA8-4CA7-8EC6-3C112D6F5151}" destId="{DBB522B8-D247-4285-BABA-C3F49727C7A6}" srcOrd="0" destOrd="2" presId="urn:microsoft.com/office/officeart/2005/8/layout/default"/>
    <dgm:cxn modelId="{FFA8B4E2-019B-434E-8C17-A46D1158CCD3}" type="presOf" srcId="{68943ABF-E572-4841-8351-CCA4020514A7}" destId="{AF2248AB-02AC-4BF7-AD13-7EDBF1BE3A70}" srcOrd="0" destOrd="3" presId="urn:microsoft.com/office/officeart/2005/8/layout/default"/>
    <dgm:cxn modelId="{C19D83F0-9665-4D22-ACE6-EACD2F87C170}" srcId="{8026F9F5-A76F-437B-A6AB-789763C02A5B}" destId="{F43F48D5-FF37-4AC0-B827-144451C5C930}" srcOrd="2" destOrd="0" parTransId="{A9651352-60C0-43BC-B521-AC400DF2CCAA}" sibTransId="{7D33A510-8519-4A00-895A-652156F335C8}"/>
    <dgm:cxn modelId="{A508B8F1-5128-4993-864F-D8DDCA1A71E1}" srcId="{2E8B640F-8695-4571-9CAD-83A06BD6BED7}" destId="{25429E67-6F58-440F-8ECD-BF79BA5C491A}" srcOrd="2" destOrd="0" parTransId="{EC162E5A-A147-4C58-8060-762B5142DC61}" sibTransId="{ED6DDC16-319C-453C-BF7A-41A5FD41FF86}"/>
    <dgm:cxn modelId="{2681C1F2-4F09-468C-8BA6-B5EBCEE81FA0}" srcId="{D4AA038A-1E9E-4A98-8476-B1A96D35826C}" destId="{842173D1-0262-4AC7-94BB-D207058F8916}" srcOrd="1" destOrd="0" parTransId="{2EE7A347-154B-4786-9C13-B332AB866CB2}" sibTransId="{18B216AA-ED41-4254-9147-4829392F33D6}"/>
    <dgm:cxn modelId="{E32D803D-EC01-4F15-A63E-07FECAACE1B4}" type="presParOf" srcId="{6953D880-B0C3-413C-AAF7-A15CBCFB3599}" destId="{9A116ECC-49DF-42E3-AB57-954A3255D54D}" srcOrd="0" destOrd="0" presId="urn:microsoft.com/office/officeart/2005/8/layout/default"/>
    <dgm:cxn modelId="{D0340509-A975-4463-B618-32D6733320A6}" type="presParOf" srcId="{6953D880-B0C3-413C-AAF7-A15CBCFB3599}" destId="{AC3D6F9D-8AF7-4F76-BDD3-C063F3200B3E}" srcOrd="1" destOrd="0" presId="urn:microsoft.com/office/officeart/2005/8/layout/default"/>
    <dgm:cxn modelId="{6F5C2CDD-4978-40AB-81D6-F02D8B6F78C5}" type="presParOf" srcId="{6953D880-B0C3-413C-AAF7-A15CBCFB3599}" destId="{DBB522B8-D247-4285-BABA-C3F49727C7A6}" srcOrd="2" destOrd="0" presId="urn:microsoft.com/office/officeart/2005/8/layout/default"/>
    <dgm:cxn modelId="{3A82BE12-22D2-4A5C-BC9F-96400F2F4DD1}" type="presParOf" srcId="{6953D880-B0C3-413C-AAF7-A15CBCFB3599}" destId="{050662AB-93F8-496C-8F1D-B9010F1966FC}" srcOrd="3" destOrd="0" presId="urn:microsoft.com/office/officeart/2005/8/layout/default"/>
    <dgm:cxn modelId="{27B18462-E02A-4C92-BB10-1F0AC7A9A776}" type="presParOf" srcId="{6953D880-B0C3-413C-AAF7-A15CBCFB3599}" destId="{AF2248AB-02AC-4BF7-AD13-7EDBF1BE3A70}" srcOrd="4" destOrd="0" presId="urn:microsoft.com/office/officeart/2005/8/layout/default"/>
    <dgm:cxn modelId="{BB33F6F1-5B08-4E9B-9440-7D54DAF664BA}" type="presParOf" srcId="{6953D880-B0C3-413C-AAF7-A15CBCFB3599}" destId="{5C9AF815-9616-4323-8DC7-DC38137E540F}" srcOrd="5" destOrd="0" presId="urn:microsoft.com/office/officeart/2005/8/layout/default"/>
    <dgm:cxn modelId="{DF6BA753-7709-488E-A35D-3B93181CCF2D}" type="presParOf" srcId="{6953D880-B0C3-413C-AAF7-A15CBCFB3599}" destId="{03E916D8-D468-4164-BAB9-0CB5AA9C018C}" srcOrd="6" destOrd="0" presId="urn:microsoft.com/office/officeart/2005/8/layout/default"/>
    <dgm:cxn modelId="{BA43D5C5-B3EE-494F-B66F-B62DDFD6B636}" type="presParOf" srcId="{6953D880-B0C3-413C-AAF7-A15CBCFB3599}" destId="{53E35AFB-62BF-4D45-BB64-A3935B53BBCE}" srcOrd="7" destOrd="0" presId="urn:microsoft.com/office/officeart/2005/8/layout/default"/>
    <dgm:cxn modelId="{31872F7F-1AB8-41BF-8E1A-8AB57CC9A64B}" type="presParOf" srcId="{6953D880-B0C3-413C-AAF7-A15CBCFB3599}" destId="{8EF2904E-4C78-42A5-BC07-F7056139C38E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DB36748-FEEE-4690-A327-5A0433126090}" type="doc">
      <dgm:prSet loTypeId="urn:microsoft.com/office/officeart/2009/3/layout/StepUpProcess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93FDC44-AB48-4E2F-8BE1-34CCA0035ED1}">
      <dgm:prSet phldrT="[Text]" custT="1"/>
      <dgm:spPr>
        <a:xfrm>
          <a:off x="615536" y="2168818"/>
          <a:ext cx="3276413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18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Phase I: Communication</a:t>
          </a:r>
        </a:p>
        <a:p>
          <a:pPr>
            <a:buNone/>
          </a:pPr>
          <a:r>
            <a:rPr lang="en-US" sz="1400" i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Fall 2020</a:t>
          </a:r>
        </a:p>
      </dgm:t>
    </dgm:pt>
    <dgm:pt modelId="{DEE3BA8A-6DBD-47BF-9AA3-2C74A464D25B}" type="parTrans" cxnId="{0F6AAB0A-C564-4837-BE62-FC4D61AB623D}">
      <dgm:prSet/>
      <dgm:spPr/>
      <dgm:t>
        <a:bodyPr/>
        <a:lstStyle/>
        <a:p>
          <a:endParaRPr lang="en-US" sz="2400"/>
        </a:p>
      </dgm:t>
    </dgm:pt>
    <dgm:pt modelId="{47D497A2-1DDB-47B7-90F7-019A73BF8BF2}" type="sibTrans" cxnId="{0F6AAB0A-C564-4837-BE62-FC4D61AB623D}">
      <dgm:prSet/>
      <dgm:spPr/>
      <dgm:t>
        <a:bodyPr/>
        <a:lstStyle/>
        <a:p>
          <a:endParaRPr lang="en-US" sz="2400"/>
        </a:p>
      </dgm:t>
    </dgm:pt>
    <dgm:pt modelId="{C707D204-9569-4418-AB5F-255B487BCE94}">
      <dgm:prSet phldrT="[Text]" custT="1"/>
      <dgm:spPr>
        <a:xfrm>
          <a:off x="4437450" y="1252153"/>
          <a:ext cx="3250752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18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Phase II: Coordinate</a:t>
          </a:r>
        </a:p>
        <a:p>
          <a:pPr>
            <a:buNone/>
          </a:pPr>
          <a:r>
            <a:rPr lang="en-US" sz="1400" i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Fall and Winter 2020</a:t>
          </a:r>
        </a:p>
      </dgm:t>
    </dgm:pt>
    <dgm:pt modelId="{C1EF9557-731F-48EA-AE2C-75145EDED933}" type="parTrans" cxnId="{B9B6323B-82AE-43BB-AC37-628259BC71E4}">
      <dgm:prSet/>
      <dgm:spPr/>
      <dgm:t>
        <a:bodyPr/>
        <a:lstStyle/>
        <a:p>
          <a:endParaRPr lang="en-US" sz="2400"/>
        </a:p>
      </dgm:t>
    </dgm:pt>
    <dgm:pt modelId="{C3ACA44A-F481-4DC3-9543-218E336E8098}" type="sibTrans" cxnId="{B9B6323B-82AE-43BB-AC37-628259BC71E4}">
      <dgm:prSet/>
      <dgm:spPr/>
      <dgm:t>
        <a:bodyPr/>
        <a:lstStyle/>
        <a:p>
          <a:endParaRPr lang="en-US" sz="2400"/>
        </a:p>
      </dgm:t>
    </dgm:pt>
    <dgm:pt modelId="{1D056DD7-5A64-4599-BEB5-41FFF5B79318}">
      <dgm:prSet phldrT="[Text]" custT="1"/>
      <dgm:spPr>
        <a:xfrm>
          <a:off x="8283162" y="335489"/>
          <a:ext cx="3383140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18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Phase III: Amplify</a:t>
          </a:r>
        </a:p>
        <a:p>
          <a:pPr>
            <a:buNone/>
          </a:pPr>
          <a:r>
            <a:rPr lang="en-US" sz="1400" i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Winter 2021 onwards</a:t>
          </a:r>
          <a:endParaRPr lang="en-US" sz="1400" i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6296A4B3-6BF8-4436-A467-7082FA225F6B}" type="parTrans" cxnId="{A67374A6-9C68-4284-BAB3-6390A2215EF3}">
      <dgm:prSet/>
      <dgm:spPr/>
      <dgm:t>
        <a:bodyPr/>
        <a:lstStyle/>
        <a:p>
          <a:endParaRPr lang="en-US" sz="2400"/>
        </a:p>
      </dgm:t>
    </dgm:pt>
    <dgm:pt modelId="{25B4CB3D-F3D8-4B59-9FF8-C73BF058BDE0}" type="sibTrans" cxnId="{A67374A6-9C68-4284-BAB3-6390A2215EF3}">
      <dgm:prSet/>
      <dgm:spPr/>
      <dgm:t>
        <a:bodyPr/>
        <a:lstStyle/>
        <a:p>
          <a:endParaRPr lang="en-US" sz="2400"/>
        </a:p>
      </dgm:t>
    </dgm:pt>
    <dgm:pt modelId="{C9B4E933-72ED-434D-9C78-2EF20408FA56}">
      <dgm:prSet phldrT="[Text]" custT="1"/>
      <dgm:spPr>
        <a:xfrm>
          <a:off x="8283162" y="335489"/>
          <a:ext cx="3383140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Continued strategic partnership building and communication</a:t>
          </a:r>
        </a:p>
      </dgm:t>
    </dgm:pt>
    <dgm:pt modelId="{17B86229-0A4F-443F-A41E-71E86B480699}" type="parTrans" cxnId="{FD823319-F090-4D3C-B654-2EA2B0C2A019}">
      <dgm:prSet/>
      <dgm:spPr/>
      <dgm:t>
        <a:bodyPr/>
        <a:lstStyle/>
        <a:p>
          <a:endParaRPr lang="en-US" sz="2400"/>
        </a:p>
      </dgm:t>
    </dgm:pt>
    <dgm:pt modelId="{2B029EBE-89D3-45AF-8ED0-680DE49E8B46}" type="sibTrans" cxnId="{FD823319-F090-4D3C-B654-2EA2B0C2A019}">
      <dgm:prSet/>
      <dgm:spPr/>
      <dgm:t>
        <a:bodyPr/>
        <a:lstStyle/>
        <a:p>
          <a:endParaRPr lang="en-US" sz="2400"/>
        </a:p>
      </dgm:t>
    </dgm:pt>
    <dgm:pt modelId="{723E2E79-1DDB-40E0-A86F-8ED485D67C04}">
      <dgm:prSet phldrT="[Text]" custT="1"/>
      <dgm:spPr>
        <a:xfrm>
          <a:off x="4437450" y="1252153"/>
          <a:ext cx="3250752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Build strategic partnerships for policy, regulatory science, and fellowships</a:t>
          </a:r>
        </a:p>
      </dgm:t>
    </dgm:pt>
    <dgm:pt modelId="{D2B49087-A718-4551-836A-EC377A2D3B0F}" type="parTrans" cxnId="{B94E8F04-450B-45B1-A820-91588A5A3130}">
      <dgm:prSet/>
      <dgm:spPr/>
      <dgm:t>
        <a:bodyPr/>
        <a:lstStyle/>
        <a:p>
          <a:endParaRPr lang="en-US" sz="2400"/>
        </a:p>
      </dgm:t>
    </dgm:pt>
    <dgm:pt modelId="{BD1A8414-47B7-4E4E-969F-753304F69FD6}" type="sibTrans" cxnId="{B94E8F04-450B-45B1-A820-91588A5A3130}">
      <dgm:prSet/>
      <dgm:spPr/>
      <dgm:t>
        <a:bodyPr/>
        <a:lstStyle/>
        <a:p>
          <a:endParaRPr lang="en-US" sz="2400"/>
        </a:p>
      </dgm:t>
    </dgm:pt>
    <dgm:pt modelId="{739999C6-852D-4B1D-A9F4-3977B753C45C}">
      <dgm:prSet phldrT="[Text]" custT="1"/>
      <dgm:spPr>
        <a:xfrm>
          <a:off x="8283162" y="335489"/>
          <a:ext cx="3383140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Update and implement regulatory framework for digital health</a:t>
          </a:r>
        </a:p>
      </dgm:t>
    </dgm:pt>
    <dgm:pt modelId="{1565291B-FEDF-4A36-BEFB-6149910A4F4D}" type="parTrans" cxnId="{75AE53BA-61E8-49B6-B58D-907659C3687A}">
      <dgm:prSet/>
      <dgm:spPr/>
      <dgm:t>
        <a:bodyPr/>
        <a:lstStyle/>
        <a:p>
          <a:endParaRPr lang="en-US" sz="2400"/>
        </a:p>
      </dgm:t>
    </dgm:pt>
    <dgm:pt modelId="{F1D34501-1F99-450D-80E8-17E17C6771DE}" type="sibTrans" cxnId="{75AE53BA-61E8-49B6-B58D-907659C3687A}">
      <dgm:prSet/>
      <dgm:spPr/>
      <dgm:t>
        <a:bodyPr/>
        <a:lstStyle/>
        <a:p>
          <a:endParaRPr lang="en-US" sz="2400"/>
        </a:p>
      </dgm:t>
    </dgm:pt>
    <dgm:pt modelId="{A81F5AC5-346C-45A4-8972-80729D83157E}">
      <dgm:prSet phldrT="[Text]" custT="1"/>
      <dgm:spPr>
        <a:xfrm>
          <a:off x="4437450" y="1252153"/>
          <a:ext cx="3250752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Develop resources for external stakeholders</a:t>
          </a:r>
        </a:p>
      </dgm:t>
    </dgm:pt>
    <dgm:pt modelId="{08C1DE31-3793-44FF-9B7B-75610A5B8108}" type="parTrans" cxnId="{436AA66B-86B3-445A-AE59-8AA79F7530B3}">
      <dgm:prSet/>
      <dgm:spPr/>
      <dgm:t>
        <a:bodyPr/>
        <a:lstStyle/>
        <a:p>
          <a:endParaRPr lang="en-US" sz="2400"/>
        </a:p>
      </dgm:t>
    </dgm:pt>
    <dgm:pt modelId="{551B8FF1-6716-4735-9D8D-8D18DC506A2A}" type="sibTrans" cxnId="{436AA66B-86B3-445A-AE59-8AA79F7530B3}">
      <dgm:prSet/>
      <dgm:spPr/>
      <dgm:t>
        <a:bodyPr/>
        <a:lstStyle/>
        <a:p>
          <a:endParaRPr lang="en-US" sz="2400"/>
        </a:p>
      </dgm:t>
    </dgm:pt>
    <dgm:pt modelId="{7170F16D-313C-4E2D-B080-D69D9E00DF8D}">
      <dgm:prSet phldrT="[Text]" custT="1"/>
      <dgm:spPr>
        <a:xfrm>
          <a:off x="8283162" y="335489"/>
          <a:ext cx="3383140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Harmonization with other regulators</a:t>
          </a:r>
        </a:p>
      </dgm:t>
    </dgm:pt>
    <dgm:pt modelId="{2CF7E784-60B1-41C7-9C7D-1FF95CB4462D}" type="parTrans" cxnId="{36819AB5-6183-4BD7-8191-826B9A201BD9}">
      <dgm:prSet/>
      <dgm:spPr/>
      <dgm:t>
        <a:bodyPr/>
        <a:lstStyle/>
        <a:p>
          <a:endParaRPr lang="en-US" sz="2400"/>
        </a:p>
      </dgm:t>
    </dgm:pt>
    <dgm:pt modelId="{D8AA42E5-3356-4B38-AEB3-D6956D86E887}" type="sibTrans" cxnId="{36819AB5-6183-4BD7-8191-826B9A201BD9}">
      <dgm:prSet/>
      <dgm:spPr/>
      <dgm:t>
        <a:bodyPr/>
        <a:lstStyle/>
        <a:p>
          <a:endParaRPr lang="en-US" sz="2400"/>
        </a:p>
      </dgm:t>
    </dgm:pt>
    <dgm:pt modelId="{8A68DC66-9983-464F-A998-AE133A1442E9}">
      <dgm:prSet phldrT="[Text]" custT="1"/>
      <dgm:spPr>
        <a:xfrm>
          <a:off x="4437450" y="1252153"/>
          <a:ext cx="3250752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Create a digital health community of practice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852FEEB7-CE90-4E1A-94FF-2C3B4345D20B}" type="parTrans" cxnId="{ADD4D91A-7A5E-49A8-9096-B98DF1749527}">
      <dgm:prSet/>
      <dgm:spPr/>
      <dgm:t>
        <a:bodyPr/>
        <a:lstStyle/>
        <a:p>
          <a:endParaRPr lang="en-US"/>
        </a:p>
      </dgm:t>
    </dgm:pt>
    <dgm:pt modelId="{2873511E-9B07-4124-B4DC-01726AB11139}" type="sibTrans" cxnId="{ADD4D91A-7A5E-49A8-9096-B98DF1749527}">
      <dgm:prSet/>
      <dgm:spPr/>
      <dgm:t>
        <a:bodyPr/>
        <a:lstStyle/>
        <a:p>
          <a:endParaRPr lang="en-US"/>
        </a:p>
      </dgm:t>
    </dgm:pt>
    <dgm:pt modelId="{F210CF6A-A355-4D68-A061-800235364599}">
      <dgm:prSet phldrT="[Text]" custT="1"/>
      <dgm:spPr>
        <a:xfrm>
          <a:off x="4437450" y="1252153"/>
          <a:ext cx="3250752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Assemble FDA and CDRH advisory groups</a:t>
          </a:r>
        </a:p>
      </dgm:t>
    </dgm:pt>
    <dgm:pt modelId="{2D689A9B-7612-45C4-BAB7-2B80B9D25D83}" type="parTrans" cxnId="{2CE8D620-DF8A-4328-8875-9F9475E11535}">
      <dgm:prSet/>
      <dgm:spPr/>
      <dgm:t>
        <a:bodyPr/>
        <a:lstStyle/>
        <a:p>
          <a:endParaRPr lang="en-US"/>
        </a:p>
      </dgm:t>
    </dgm:pt>
    <dgm:pt modelId="{9A089FC1-4283-40B1-976A-EA593D8FB1BB}" type="sibTrans" cxnId="{2CE8D620-DF8A-4328-8875-9F9475E11535}">
      <dgm:prSet/>
      <dgm:spPr/>
      <dgm:t>
        <a:bodyPr/>
        <a:lstStyle/>
        <a:p>
          <a:endParaRPr lang="en-US"/>
        </a:p>
      </dgm:t>
    </dgm:pt>
    <dgm:pt modelId="{009A6A0D-BAFD-4D73-ABD0-7BEA59C77218}">
      <dgm:prSet phldrT="[Text]" custT="1"/>
      <dgm:spPr>
        <a:xfrm>
          <a:off x="615536" y="2168818"/>
          <a:ext cx="3276413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Begin operationalizing the DHCoE and outcome measurement</a:t>
          </a:r>
        </a:p>
      </dgm:t>
    </dgm:pt>
    <dgm:pt modelId="{7CCBBCC0-C1BA-4E57-91D3-9E6061AF95E5}" type="parTrans" cxnId="{2EB03C43-B6ED-44C8-88D5-FE7F12E63D71}">
      <dgm:prSet/>
      <dgm:spPr/>
      <dgm:t>
        <a:bodyPr/>
        <a:lstStyle/>
        <a:p>
          <a:endParaRPr lang="en-US"/>
        </a:p>
      </dgm:t>
    </dgm:pt>
    <dgm:pt modelId="{04C65459-6AEE-4713-8B23-E740C937B0D3}" type="sibTrans" cxnId="{2EB03C43-B6ED-44C8-88D5-FE7F12E63D71}">
      <dgm:prSet/>
      <dgm:spPr/>
      <dgm:t>
        <a:bodyPr/>
        <a:lstStyle/>
        <a:p>
          <a:endParaRPr lang="en-US"/>
        </a:p>
      </dgm:t>
    </dgm:pt>
    <dgm:pt modelId="{BBFEE4AC-4FB1-4035-AB51-C29E63A75FBA}">
      <dgm:prSet phldrT="[Text]" custT="1"/>
      <dgm:spPr>
        <a:xfrm>
          <a:off x="615536" y="2168818"/>
          <a:ext cx="3276413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Update and develop resources for FDA staff</a:t>
          </a:r>
        </a:p>
      </dgm:t>
    </dgm:pt>
    <dgm:pt modelId="{8616302E-2F60-42EA-BE63-125B103EA761}" type="sibTrans" cxnId="{DE27F323-B817-4EA3-9C72-6575C2BEC155}">
      <dgm:prSet/>
      <dgm:spPr/>
      <dgm:t>
        <a:bodyPr/>
        <a:lstStyle/>
        <a:p>
          <a:endParaRPr lang="en-US" sz="2400"/>
        </a:p>
      </dgm:t>
    </dgm:pt>
    <dgm:pt modelId="{D04010A6-7849-4DBB-BE13-B681189A9BB9}" type="parTrans" cxnId="{DE27F323-B817-4EA3-9C72-6575C2BEC155}">
      <dgm:prSet/>
      <dgm:spPr/>
      <dgm:t>
        <a:bodyPr/>
        <a:lstStyle/>
        <a:p>
          <a:endParaRPr lang="en-US" sz="2400"/>
        </a:p>
      </dgm:t>
    </dgm:pt>
    <dgm:pt modelId="{90E7D4E6-41A5-4725-BD12-76C3CA453A4C}">
      <dgm:prSet phldrT="[Text]" custT="1"/>
      <dgm:spPr>
        <a:xfrm>
          <a:off x="615536" y="2168818"/>
          <a:ext cx="3276413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Stakeholder Listening Sessions</a:t>
          </a:r>
        </a:p>
      </dgm:t>
    </dgm:pt>
    <dgm:pt modelId="{B019D5AA-0055-4A95-B7F1-8760A498F144}" type="sibTrans" cxnId="{01A04F24-CC54-4B47-944C-29F37FD48B3B}">
      <dgm:prSet/>
      <dgm:spPr/>
      <dgm:t>
        <a:bodyPr/>
        <a:lstStyle/>
        <a:p>
          <a:endParaRPr lang="en-US" sz="2400"/>
        </a:p>
      </dgm:t>
    </dgm:pt>
    <dgm:pt modelId="{1941DF1F-6CC1-481C-B396-8AF57F735C13}" type="parTrans" cxnId="{01A04F24-CC54-4B47-944C-29F37FD48B3B}">
      <dgm:prSet/>
      <dgm:spPr/>
      <dgm:t>
        <a:bodyPr/>
        <a:lstStyle/>
        <a:p>
          <a:endParaRPr lang="en-US" sz="2400"/>
        </a:p>
      </dgm:t>
    </dgm:pt>
    <dgm:pt modelId="{61E28942-7BAD-45CA-8E75-AAB185D98F64}">
      <dgm:prSet phldrT="[Text]" custT="1"/>
      <dgm:spPr>
        <a:xfrm>
          <a:off x="615536" y="2168818"/>
          <a:ext cx="3276413" cy="265247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Amplify current work being done at FDA in digital health</a:t>
          </a:r>
        </a:p>
      </dgm:t>
    </dgm:pt>
    <dgm:pt modelId="{76467ED1-DEE9-4E36-912E-878FE1E81C95}" type="parTrans" cxnId="{1495D528-E57F-411D-8EAD-ACBB7DB6B688}">
      <dgm:prSet/>
      <dgm:spPr/>
      <dgm:t>
        <a:bodyPr/>
        <a:lstStyle/>
        <a:p>
          <a:endParaRPr lang="en-US"/>
        </a:p>
      </dgm:t>
    </dgm:pt>
    <dgm:pt modelId="{17C9DAEB-3F4F-49E4-803A-E302326409B5}" type="sibTrans" cxnId="{1495D528-E57F-411D-8EAD-ACBB7DB6B688}">
      <dgm:prSet/>
      <dgm:spPr/>
      <dgm:t>
        <a:bodyPr/>
        <a:lstStyle/>
        <a:p>
          <a:endParaRPr lang="en-US"/>
        </a:p>
      </dgm:t>
    </dgm:pt>
    <dgm:pt modelId="{220C6CE6-BE95-4C5E-99AC-06C5F8FB4F64}" type="pres">
      <dgm:prSet presAssocID="{4DB36748-FEEE-4690-A327-5A0433126090}" presName="rootnode" presStyleCnt="0">
        <dgm:presLayoutVars>
          <dgm:chMax/>
          <dgm:chPref/>
          <dgm:dir/>
          <dgm:animLvl val="lvl"/>
        </dgm:presLayoutVars>
      </dgm:prSet>
      <dgm:spPr/>
    </dgm:pt>
    <dgm:pt modelId="{C176EC1C-2B31-4FD3-BC5B-0825827EDAAE}" type="pres">
      <dgm:prSet presAssocID="{C93FDC44-AB48-4E2F-8BE1-34CCA0035ED1}" presName="composite" presStyleCnt="0"/>
      <dgm:spPr/>
    </dgm:pt>
    <dgm:pt modelId="{EF46715E-CAD2-4430-B011-766D753A67E3}" type="pres">
      <dgm:prSet presAssocID="{C93FDC44-AB48-4E2F-8BE1-34CCA0035ED1}" presName="LShape" presStyleLbl="alignNode1" presStyleIdx="0" presStyleCnt="5"/>
      <dgm:spPr>
        <a:xfrm rot="5400000">
          <a:off x="963835" y="1167356"/>
          <a:ext cx="2014321" cy="3351785"/>
        </a:xfrm>
        <a:prstGeom prst="corner">
          <a:avLst>
            <a:gd name="adj1" fmla="val 16120"/>
            <a:gd name="adj2" fmla="val 16110"/>
          </a:avLst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ED7D3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013394D7-0F09-48BB-AACB-8900F481922E}" type="pres">
      <dgm:prSet presAssocID="{C93FDC44-AB48-4E2F-8BE1-34CCA0035ED1}" presName="ParentText" presStyleLbl="revTx" presStyleIdx="0" presStyleCnt="3" custScaleX="108275" custLinFactNeighborX="3739">
        <dgm:presLayoutVars>
          <dgm:chMax val="0"/>
          <dgm:chPref val="0"/>
          <dgm:bulletEnabled val="1"/>
        </dgm:presLayoutVars>
      </dgm:prSet>
      <dgm:spPr/>
    </dgm:pt>
    <dgm:pt modelId="{585397B5-DD20-43F8-840F-34C7F44C8846}" type="pres">
      <dgm:prSet presAssocID="{C93FDC44-AB48-4E2F-8BE1-34CCA0035ED1}" presName="Triangle" presStyleLbl="alignNode1" presStyleIdx="1" presStyleCnt="5" custLinFactNeighborY="41875"/>
      <dgm:spPr>
        <a:xfrm>
          <a:off x="3082660" y="1159677"/>
          <a:ext cx="570945" cy="570945"/>
        </a:xfrm>
        <a:prstGeom prst="triangle">
          <a:avLst>
            <a:gd name="adj" fmla="val 100000"/>
          </a:avLst>
        </a:prstGeom>
        <a:solidFill>
          <a:srgbClr val="A5A5A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A5A5A5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18DBF38B-A892-42A9-BB60-6358DB386EC5}" type="pres">
      <dgm:prSet presAssocID="{47D497A2-1DDB-47B7-90F7-019A73BF8BF2}" presName="sibTrans" presStyleCnt="0"/>
      <dgm:spPr/>
    </dgm:pt>
    <dgm:pt modelId="{F5DA3269-4784-488E-9838-08052FE4AD38}" type="pres">
      <dgm:prSet presAssocID="{47D497A2-1DDB-47B7-90F7-019A73BF8BF2}" presName="space" presStyleCnt="0"/>
      <dgm:spPr/>
    </dgm:pt>
    <dgm:pt modelId="{B01C3D0E-59C9-432E-B743-051935FF05D6}" type="pres">
      <dgm:prSet presAssocID="{C707D204-9569-4418-AB5F-255B487BCE94}" presName="composite" presStyleCnt="0"/>
      <dgm:spPr/>
    </dgm:pt>
    <dgm:pt modelId="{A326E0D5-26FE-4CAA-8BC7-FD8016CA4759}" type="pres">
      <dgm:prSet presAssocID="{C707D204-9569-4418-AB5F-255B487BCE94}" presName="LShape" presStyleLbl="alignNode1" presStyleIdx="2" presStyleCnt="5"/>
      <dgm:spPr>
        <a:xfrm rot="5400000">
          <a:off x="4793465" y="250692"/>
          <a:ext cx="2014321" cy="3351785"/>
        </a:xfrm>
        <a:prstGeom prst="corner">
          <a:avLst>
            <a:gd name="adj1" fmla="val 16120"/>
            <a:gd name="adj2" fmla="val 16110"/>
          </a:avLst>
        </a:prstGeom>
        <a:solidFill>
          <a:srgbClr val="FFC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C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5CEA2779-944F-45B8-BCE9-6ACCD99B660B}" type="pres">
      <dgm:prSet presAssocID="{C707D204-9569-4418-AB5F-255B487BCE94}" presName="ParentText" presStyleLbl="revTx" presStyleIdx="1" presStyleCnt="3" custScaleX="107427" custLinFactNeighborX="3060">
        <dgm:presLayoutVars>
          <dgm:chMax val="0"/>
          <dgm:chPref val="0"/>
          <dgm:bulletEnabled val="1"/>
        </dgm:presLayoutVars>
      </dgm:prSet>
      <dgm:spPr/>
    </dgm:pt>
    <dgm:pt modelId="{FA4AA0AD-EEE6-4137-8E93-12458E54F6EC}" type="pres">
      <dgm:prSet presAssocID="{C707D204-9569-4418-AB5F-255B487BCE94}" presName="Triangle" presStyleLbl="alignNode1" presStyleIdx="3" presStyleCnt="5" custLinFactNeighborY="44737"/>
      <dgm:spPr>
        <a:xfrm>
          <a:off x="6912290" y="259353"/>
          <a:ext cx="570945" cy="570945"/>
        </a:xfrm>
        <a:prstGeom prst="triangle">
          <a:avLst>
            <a:gd name="adj" fmla="val 100000"/>
          </a:avLst>
        </a:prstGeom>
        <a:solidFill>
          <a:srgbClr val="4472C4"/>
        </a:solidFill>
        <a:ln w="12700" cap="flat" cmpd="sng" algn="ctr">
          <a:solidFill>
            <a:srgbClr val="5B9BD5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0142D6FD-C60D-41BF-BE9C-F917A6194453}" type="pres">
      <dgm:prSet presAssocID="{C3ACA44A-F481-4DC3-9543-218E336E8098}" presName="sibTrans" presStyleCnt="0"/>
      <dgm:spPr/>
    </dgm:pt>
    <dgm:pt modelId="{9D7251A0-3F7A-4D96-BDD6-34515884614D}" type="pres">
      <dgm:prSet presAssocID="{C3ACA44A-F481-4DC3-9543-218E336E8098}" presName="space" presStyleCnt="0"/>
      <dgm:spPr/>
    </dgm:pt>
    <dgm:pt modelId="{57076AA2-DD63-4C73-8E62-831AEB67421A}" type="pres">
      <dgm:prSet presAssocID="{1D056DD7-5A64-4599-BEB5-41FFF5B79318}" presName="composite" presStyleCnt="0"/>
      <dgm:spPr/>
    </dgm:pt>
    <dgm:pt modelId="{A31C07E7-D284-47CC-A7BB-7690FFBBF139}" type="pres">
      <dgm:prSet presAssocID="{1D056DD7-5A64-4599-BEB5-41FFF5B79318}" presName="LShape" presStyleLbl="alignNode1" presStyleIdx="4" presStyleCnt="5"/>
      <dgm:spPr>
        <a:xfrm rot="5400000">
          <a:off x="8623094" y="-665972"/>
          <a:ext cx="2014321" cy="3351785"/>
        </a:xfrm>
        <a:prstGeom prst="corner">
          <a:avLst>
            <a:gd name="adj1" fmla="val 16120"/>
            <a:gd name="adj2" fmla="val 16110"/>
          </a:avLst>
        </a:prstGeom>
        <a:solidFill>
          <a:srgbClr val="70AD47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70AD47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86A16A27-23A2-4F86-820B-10446185007F}" type="pres">
      <dgm:prSet presAssocID="{1D056DD7-5A64-4599-BEB5-41FFF5B79318}" presName="ParentText" presStyleLbl="revTx" presStyleIdx="2" presStyleCnt="3" custScaleX="111802" custLinFactNeighborX="5779">
        <dgm:presLayoutVars>
          <dgm:chMax val="0"/>
          <dgm:chPref val="0"/>
          <dgm:bulletEnabled val="1"/>
        </dgm:presLayoutVars>
      </dgm:prSet>
      <dgm:spPr/>
    </dgm:pt>
  </dgm:ptLst>
  <dgm:cxnLst>
    <dgm:cxn modelId="{B94E8F04-450B-45B1-A820-91588A5A3130}" srcId="{C707D204-9569-4418-AB5F-255B487BCE94}" destId="{723E2E79-1DDB-40E0-A86F-8ED485D67C04}" srcOrd="0" destOrd="0" parTransId="{D2B49087-A718-4551-836A-EC377A2D3B0F}" sibTransId="{BD1A8414-47B7-4E4E-969F-753304F69FD6}"/>
    <dgm:cxn modelId="{0F6AAB0A-C564-4837-BE62-FC4D61AB623D}" srcId="{4DB36748-FEEE-4690-A327-5A0433126090}" destId="{C93FDC44-AB48-4E2F-8BE1-34CCA0035ED1}" srcOrd="0" destOrd="0" parTransId="{DEE3BA8A-6DBD-47BF-9AA3-2C74A464D25B}" sibTransId="{47D497A2-1DDB-47B7-90F7-019A73BF8BF2}"/>
    <dgm:cxn modelId="{ADB7F20F-FD72-49CF-9C39-6E898B2B60C8}" type="presOf" srcId="{C707D204-9569-4418-AB5F-255B487BCE94}" destId="{5CEA2779-944F-45B8-BCE9-6ACCD99B660B}" srcOrd="0" destOrd="0" presId="urn:microsoft.com/office/officeart/2009/3/layout/StepUpProcess"/>
    <dgm:cxn modelId="{FD823319-F090-4D3C-B654-2EA2B0C2A019}" srcId="{1D056DD7-5A64-4599-BEB5-41FFF5B79318}" destId="{C9B4E933-72ED-434D-9C78-2EF20408FA56}" srcOrd="0" destOrd="0" parTransId="{17B86229-0A4F-443F-A41E-71E86B480699}" sibTransId="{2B029EBE-89D3-45AF-8ED0-680DE49E8B46}"/>
    <dgm:cxn modelId="{ADD4D91A-7A5E-49A8-9096-B98DF1749527}" srcId="{C707D204-9569-4418-AB5F-255B487BCE94}" destId="{8A68DC66-9983-464F-A998-AE133A1442E9}" srcOrd="2" destOrd="0" parTransId="{852FEEB7-CE90-4E1A-94FF-2C3B4345D20B}" sibTransId="{2873511E-9B07-4124-B4DC-01726AB11139}"/>
    <dgm:cxn modelId="{2CE8D620-DF8A-4328-8875-9F9475E11535}" srcId="{C707D204-9569-4418-AB5F-255B487BCE94}" destId="{F210CF6A-A355-4D68-A061-800235364599}" srcOrd="3" destOrd="0" parTransId="{2D689A9B-7612-45C4-BAB7-2B80B9D25D83}" sibTransId="{9A089FC1-4283-40B1-976A-EA593D8FB1BB}"/>
    <dgm:cxn modelId="{DE27F323-B817-4EA3-9C72-6575C2BEC155}" srcId="{C93FDC44-AB48-4E2F-8BE1-34CCA0035ED1}" destId="{BBFEE4AC-4FB1-4035-AB51-C29E63A75FBA}" srcOrd="1" destOrd="0" parTransId="{D04010A6-7849-4DBB-BE13-B681189A9BB9}" sibTransId="{8616302E-2F60-42EA-BE63-125B103EA761}"/>
    <dgm:cxn modelId="{01A04F24-CC54-4B47-944C-29F37FD48B3B}" srcId="{C93FDC44-AB48-4E2F-8BE1-34CCA0035ED1}" destId="{90E7D4E6-41A5-4725-BD12-76C3CA453A4C}" srcOrd="0" destOrd="0" parTransId="{1941DF1F-6CC1-481C-B396-8AF57F735C13}" sibTransId="{B019D5AA-0055-4A95-B7F1-8760A498F144}"/>
    <dgm:cxn modelId="{1495D528-E57F-411D-8EAD-ACBB7DB6B688}" srcId="{C93FDC44-AB48-4E2F-8BE1-34CCA0035ED1}" destId="{61E28942-7BAD-45CA-8E75-AAB185D98F64}" srcOrd="3" destOrd="0" parTransId="{76467ED1-DEE9-4E36-912E-878FE1E81C95}" sibTransId="{17C9DAEB-3F4F-49E4-803A-E302326409B5}"/>
    <dgm:cxn modelId="{AD55253A-D056-4A2A-908F-5666816A28EA}" type="presOf" srcId="{BBFEE4AC-4FB1-4035-AB51-C29E63A75FBA}" destId="{013394D7-0F09-48BB-AACB-8900F481922E}" srcOrd="0" destOrd="2" presId="urn:microsoft.com/office/officeart/2009/3/layout/StepUpProcess"/>
    <dgm:cxn modelId="{B9B6323B-82AE-43BB-AC37-628259BC71E4}" srcId="{4DB36748-FEEE-4690-A327-5A0433126090}" destId="{C707D204-9569-4418-AB5F-255B487BCE94}" srcOrd="1" destOrd="0" parTransId="{C1EF9557-731F-48EA-AE2C-75145EDED933}" sibTransId="{C3ACA44A-F481-4DC3-9543-218E336E8098}"/>
    <dgm:cxn modelId="{2EB03C43-B6ED-44C8-88D5-FE7F12E63D71}" srcId="{C93FDC44-AB48-4E2F-8BE1-34CCA0035ED1}" destId="{009A6A0D-BAFD-4D73-ABD0-7BEA59C77218}" srcOrd="2" destOrd="0" parTransId="{7CCBBCC0-C1BA-4E57-91D3-9E6061AF95E5}" sibTransId="{04C65459-6AEE-4713-8B23-E740C937B0D3}"/>
    <dgm:cxn modelId="{02D88067-36EE-443B-AF44-192937A4765A}" type="presOf" srcId="{90E7D4E6-41A5-4725-BD12-76C3CA453A4C}" destId="{013394D7-0F09-48BB-AACB-8900F481922E}" srcOrd="0" destOrd="1" presId="urn:microsoft.com/office/officeart/2009/3/layout/StepUpProcess"/>
    <dgm:cxn modelId="{436AA66B-86B3-445A-AE59-8AA79F7530B3}" srcId="{C707D204-9569-4418-AB5F-255B487BCE94}" destId="{A81F5AC5-346C-45A4-8972-80729D83157E}" srcOrd="1" destOrd="0" parTransId="{08C1DE31-3793-44FF-9B7B-75610A5B8108}" sibTransId="{551B8FF1-6716-4735-9D8D-8D18DC506A2A}"/>
    <dgm:cxn modelId="{FC259A7C-4994-4991-9CC2-FA4B78AA6E74}" type="presOf" srcId="{723E2E79-1DDB-40E0-A86F-8ED485D67C04}" destId="{5CEA2779-944F-45B8-BCE9-6ACCD99B660B}" srcOrd="0" destOrd="1" presId="urn:microsoft.com/office/officeart/2009/3/layout/StepUpProcess"/>
    <dgm:cxn modelId="{64088D8F-C1D2-4489-8EE9-1660825B2F34}" type="presOf" srcId="{C9B4E933-72ED-434D-9C78-2EF20408FA56}" destId="{86A16A27-23A2-4F86-820B-10446185007F}" srcOrd="0" destOrd="1" presId="urn:microsoft.com/office/officeart/2009/3/layout/StepUpProcess"/>
    <dgm:cxn modelId="{91ED7691-200C-438C-82C3-AA13CF4385CA}" type="presOf" srcId="{F210CF6A-A355-4D68-A061-800235364599}" destId="{5CEA2779-944F-45B8-BCE9-6ACCD99B660B}" srcOrd="0" destOrd="4" presId="urn:microsoft.com/office/officeart/2009/3/layout/StepUpProcess"/>
    <dgm:cxn modelId="{D598549D-BD51-45DC-9852-EEA74D734816}" type="presOf" srcId="{009A6A0D-BAFD-4D73-ABD0-7BEA59C77218}" destId="{013394D7-0F09-48BB-AACB-8900F481922E}" srcOrd="0" destOrd="3" presId="urn:microsoft.com/office/officeart/2009/3/layout/StepUpProcess"/>
    <dgm:cxn modelId="{A67374A6-9C68-4284-BAB3-6390A2215EF3}" srcId="{4DB36748-FEEE-4690-A327-5A0433126090}" destId="{1D056DD7-5A64-4599-BEB5-41FFF5B79318}" srcOrd="2" destOrd="0" parTransId="{6296A4B3-6BF8-4436-A467-7082FA225F6B}" sibTransId="{25B4CB3D-F3D8-4B59-9FF8-C73BF058BDE0}"/>
    <dgm:cxn modelId="{71D874B3-7A41-4A9F-B27A-5AC8564F8251}" type="presOf" srcId="{1D056DD7-5A64-4599-BEB5-41FFF5B79318}" destId="{86A16A27-23A2-4F86-820B-10446185007F}" srcOrd="0" destOrd="0" presId="urn:microsoft.com/office/officeart/2009/3/layout/StepUpProcess"/>
    <dgm:cxn modelId="{B3CBA9B3-4169-42F7-AB9A-8F39E2A74A9D}" type="presOf" srcId="{7170F16D-313C-4E2D-B080-D69D9E00DF8D}" destId="{86A16A27-23A2-4F86-820B-10446185007F}" srcOrd="0" destOrd="3" presId="urn:microsoft.com/office/officeart/2009/3/layout/StepUpProcess"/>
    <dgm:cxn modelId="{36819AB5-6183-4BD7-8191-826B9A201BD9}" srcId="{1D056DD7-5A64-4599-BEB5-41FFF5B79318}" destId="{7170F16D-313C-4E2D-B080-D69D9E00DF8D}" srcOrd="2" destOrd="0" parTransId="{2CF7E784-60B1-41C7-9C7D-1FF95CB4462D}" sibTransId="{D8AA42E5-3356-4B38-AEB3-D6956D86E887}"/>
    <dgm:cxn modelId="{75AE53BA-61E8-49B6-B58D-907659C3687A}" srcId="{1D056DD7-5A64-4599-BEB5-41FFF5B79318}" destId="{739999C6-852D-4B1D-A9F4-3977B753C45C}" srcOrd="1" destOrd="0" parTransId="{1565291B-FEDF-4A36-BEFB-6149910A4F4D}" sibTransId="{F1D34501-1F99-450D-80E8-17E17C6771DE}"/>
    <dgm:cxn modelId="{39EF33CF-133D-48CC-ADFA-2292E89455FD}" type="presOf" srcId="{4DB36748-FEEE-4690-A327-5A0433126090}" destId="{220C6CE6-BE95-4C5E-99AC-06C5F8FB4F64}" srcOrd="0" destOrd="0" presId="urn:microsoft.com/office/officeart/2009/3/layout/StepUpProcess"/>
    <dgm:cxn modelId="{E444FAD0-A572-45C9-BD1C-4E3AD91A6157}" type="presOf" srcId="{8A68DC66-9983-464F-A998-AE133A1442E9}" destId="{5CEA2779-944F-45B8-BCE9-6ACCD99B660B}" srcOrd="0" destOrd="3" presId="urn:microsoft.com/office/officeart/2009/3/layout/StepUpProcess"/>
    <dgm:cxn modelId="{5A61F5DB-D675-4B0A-BF59-1B6505051B88}" type="presOf" srcId="{61E28942-7BAD-45CA-8E75-AAB185D98F64}" destId="{013394D7-0F09-48BB-AACB-8900F481922E}" srcOrd="0" destOrd="4" presId="urn:microsoft.com/office/officeart/2009/3/layout/StepUpProcess"/>
    <dgm:cxn modelId="{178FA3E3-ED8E-41DA-BC08-F9C231F49174}" type="presOf" srcId="{A81F5AC5-346C-45A4-8972-80729D83157E}" destId="{5CEA2779-944F-45B8-BCE9-6ACCD99B660B}" srcOrd="0" destOrd="2" presId="urn:microsoft.com/office/officeart/2009/3/layout/StepUpProcess"/>
    <dgm:cxn modelId="{376638ED-73F1-4606-AFF9-456DE6891048}" type="presOf" srcId="{739999C6-852D-4B1D-A9F4-3977B753C45C}" destId="{86A16A27-23A2-4F86-820B-10446185007F}" srcOrd="0" destOrd="2" presId="urn:microsoft.com/office/officeart/2009/3/layout/StepUpProcess"/>
    <dgm:cxn modelId="{EB2DFFEE-8F41-4E1E-96F9-D2EE970B0645}" type="presOf" srcId="{C93FDC44-AB48-4E2F-8BE1-34CCA0035ED1}" destId="{013394D7-0F09-48BB-AACB-8900F481922E}" srcOrd="0" destOrd="0" presId="urn:microsoft.com/office/officeart/2009/3/layout/StepUpProcess"/>
    <dgm:cxn modelId="{6563C229-84D3-43D2-B753-E339EDBE8BB2}" type="presParOf" srcId="{220C6CE6-BE95-4C5E-99AC-06C5F8FB4F64}" destId="{C176EC1C-2B31-4FD3-BC5B-0825827EDAAE}" srcOrd="0" destOrd="0" presId="urn:microsoft.com/office/officeart/2009/3/layout/StepUpProcess"/>
    <dgm:cxn modelId="{7E52FF9E-C8CD-404E-A5A2-C226489BCCAC}" type="presParOf" srcId="{C176EC1C-2B31-4FD3-BC5B-0825827EDAAE}" destId="{EF46715E-CAD2-4430-B011-766D753A67E3}" srcOrd="0" destOrd="0" presId="urn:microsoft.com/office/officeart/2009/3/layout/StepUpProcess"/>
    <dgm:cxn modelId="{F63B2E57-A201-41F2-A87A-6AAADB1B3791}" type="presParOf" srcId="{C176EC1C-2B31-4FD3-BC5B-0825827EDAAE}" destId="{013394D7-0F09-48BB-AACB-8900F481922E}" srcOrd="1" destOrd="0" presId="urn:microsoft.com/office/officeart/2009/3/layout/StepUpProcess"/>
    <dgm:cxn modelId="{0A3D0087-36A9-461C-9470-BC9CA33AA638}" type="presParOf" srcId="{C176EC1C-2B31-4FD3-BC5B-0825827EDAAE}" destId="{585397B5-DD20-43F8-840F-34C7F44C8846}" srcOrd="2" destOrd="0" presId="urn:microsoft.com/office/officeart/2009/3/layout/StepUpProcess"/>
    <dgm:cxn modelId="{5721A1F2-728B-4A98-958F-2BAB59AF44FB}" type="presParOf" srcId="{220C6CE6-BE95-4C5E-99AC-06C5F8FB4F64}" destId="{18DBF38B-A892-42A9-BB60-6358DB386EC5}" srcOrd="1" destOrd="0" presId="urn:microsoft.com/office/officeart/2009/3/layout/StepUpProcess"/>
    <dgm:cxn modelId="{26074643-1563-4365-AD69-84435574C6B9}" type="presParOf" srcId="{18DBF38B-A892-42A9-BB60-6358DB386EC5}" destId="{F5DA3269-4784-488E-9838-08052FE4AD38}" srcOrd="0" destOrd="0" presId="urn:microsoft.com/office/officeart/2009/3/layout/StepUpProcess"/>
    <dgm:cxn modelId="{D5093988-1993-4485-AABF-2E7E1C0B9682}" type="presParOf" srcId="{220C6CE6-BE95-4C5E-99AC-06C5F8FB4F64}" destId="{B01C3D0E-59C9-432E-B743-051935FF05D6}" srcOrd="2" destOrd="0" presId="urn:microsoft.com/office/officeart/2009/3/layout/StepUpProcess"/>
    <dgm:cxn modelId="{B90F19E4-CB1B-4717-9B7B-00351F00EEE1}" type="presParOf" srcId="{B01C3D0E-59C9-432E-B743-051935FF05D6}" destId="{A326E0D5-26FE-4CAA-8BC7-FD8016CA4759}" srcOrd="0" destOrd="0" presId="urn:microsoft.com/office/officeart/2009/3/layout/StepUpProcess"/>
    <dgm:cxn modelId="{73C3B08B-967A-46CB-B08E-9367061D2A7E}" type="presParOf" srcId="{B01C3D0E-59C9-432E-B743-051935FF05D6}" destId="{5CEA2779-944F-45B8-BCE9-6ACCD99B660B}" srcOrd="1" destOrd="0" presId="urn:microsoft.com/office/officeart/2009/3/layout/StepUpProcess"/>
    <dgm:cxn modelId="{8D2E6F62-1D82-4DA9-8335-A666097AF40F}" type="presParOf" srcId="{B01C3D0E-59C9-432E-B743-051935FF05D6}" destId="{FA4AA0AD-EEE6-4137-8E93-12458E54F6EC}" srcOrd="2" destOrd="0" presId="urn:microsoft.com/office/officeart/2009/3/layout/StepUpProcess"/>
    <dgm:cxn modelId="{502EFA54-8A66-41FC-B357-4B416215BC69}" type="presParOf" srcId="{220C6CE6-BE95-4C5E-99AC-06C5F8FB4F64}" destId="{0142D6FD-C60D-41BF-BE9C-F917A6194453}" srcOrd="3" destOrd="0" presId="urn:microsoft.com/office/officeart/2009/3/layout/StepUpProcess"/>
    <dgm:cxn modelId="{FF74A1A8-9D0B-405B-B156-70F1E316AEFE}" type="presParOf" srcId="{0142D6FD-C60D-41BF-BE9C-F917A6194453}" destId="{9D7251A0-3F7A-4D96-BDD6-34515884614D}" srcOrd="0" destOrd="0" presId="urn:microsoft.com/office/officeart/2009/3/layout/StepUpProcess"/>
    <dgm:cxn modelId="{78183DC3-BDB3-4D0C-AD38-F40006A18B54}" type="presParOf" srcId="{220C6CE6-BE95-4C5E-99AC-06C5F8FB4F64}" destId="{57076AA2-DD63-4C73-8E62-831AEB67421A}" srcOrd="4" destOrd="0" presId="urn:microsoft.com/office/officeart/2009/3/layout/StepUpProcess"/>
    <dgm:cxn modelId="{0A37A2DC-742A-4F06-AF28-0351B0017A6D}" type="presParOf" srcId="{57076AA2-DD63-4C73-8E62-831AEB67421A}" destId="{A31C07E7-D284-47CC-A7BB-7690FFBBF139}" srcOrd="0" destOrd="0" presId="urn:microsoft.com/office/officeart/2009/3/layout/StepUpProcess"/>
    <dgm:cxn modelId="{E5BD1F85-3187-42B6-BEF5-96667C5CA78D}" type="presParOf" srcId="{57076AA2-DD63-4C73-8E62-831AEB67421A}" destId="{86A16A27-23A2-4F86-820B-10446185007F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572178-CCD1-4CE8-A321-40EF68D6E401}">
      <dsp:nvSpPr>
        <dsp:cNvPr id="0" name=""/>
        <dsp:cNvSpPr/>
      </dsp:nvSpPr>
      <dsp:spPr>
        <a:xfrm rot="10800000">
          <a:off x="1687527" y="267"/>
          <a:ext cx="6131631" cy="57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2402" tIns="76200" rIns="14224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2000" b="0" i="0" u="none" strike="noStrike" kern="1200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Used as a medical product</a:t>
          </a:r>
          <a:endParaRPr lang="en-US" sz="20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 rot="10800000">
        <a:off x="1830621" y="267"/>
        <a:ext cx="5988537" cy="572375"/>
      </dsp:txXfrm>
    </dsp:sp>
    <dsp:sp modelId="{E8A7D144-63AF-44B4-B71F-3AB7CCC8855B}">
      <dsp:nvSpPr>
        <dsp:cNvPr id="0" name=""/>
        <dsp:cNvSpPr/>
      </dsp:nvSpPr>
      <dsp:spPr>
        <a:xfrm>
          <a:off x="1401339" y="267"/>
          <a:ext cx="572375" cy="572375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9FB187-E06B-41FA-9883-38B90EBE60E0}">
      <dsp:nvSpPr>
        <dsp:cNvPr id="0" name=""/>
        <dsp:cNvSpPr/>
      </dsp:nvSpPr>
      <dsp:spPr>
        <a:xfrm rot="10800000">
          <a:off x="1687527" y="735406"/>
          <a:ext cx="6131631" cy="57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2402" tIns="76200" rIns="14224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2000" b="0" i="0" u="none" strike="noStrike" kern="1200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Incorporated into a medical product </a:t>
          </a:r>
          <a:br>
            <a:rPr kumimoji="0" lang="en-US" sz="2000" b="0" i="0" u="none" strike="noStrike" kern="1200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</a:br>
          <a:r>
            <a:rPr kumimoji="0" lang="en-US" sz="2000" b="0" i="0" u="none" strike="noStrike" kern="1200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(include a pharmacologic product)</a:t>
          </a:r>
        </a:p>
      </dsp:txBody>
      <dsp:txXfrm rot="10800000">
        <a:off x="1830621" y="735406"/>
        <a:ext cx="5988537" cy="572375"/>
      </dsp:txXfrm>
    </dsp:sp>
    <dsp:sp modelId="{B5FCE01D-4B01-4D51-AD8F-2C8C81ADBAF0}">
      <dsp:nvSpPr>
        <dsp:cNvPr id="0" name=""/>
        <dsp:cNvSpPr/>
      </dsp:nvSpPr>
      <dsp:spPr>
        <a:xfrm>
          <a:off x="1401339" y="735406"/>
          <a:ext cx="572375" cy="572375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A2A55D-C0A7-42D8-A567-87FA0D239E2E}">
      <dsp:nvSpPr>
        <dsp:cNvPr id="0" name=""/>
        <dsp:cNvSpPr/>
      </dsp:nvSpPr>
      <dsp:spPr>
        <a:xfrm rot="10800000">
          <a:off x="1687527" y="1470545"/>
          <a:ext cx="6131631" cy="57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2402" tIns="76200" rIns="14224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2000" b="0" i="0" u="none" strike="noStrike" kern="1200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Used to develop a medical product</a:t>
          </a:r>
        </a:p>
      </dsp:txBody>
      <dsp:txXfrm rot="10800000">
        <a:off x="1830621" y="1470545"/>
        <a:ext cx="5988537" cy="572375"/>
      </dsp:txXfrm>
    </dsp:sp>
    <dsp:sp modelId="{25086332-909E-43DB-A7C5-A14EDBC8E474}">
      <dsp:nvSpPr>
        <dsp:cNvPr id="0" name=""/>
        <dsp:cNvSpPr/>
      </dsp:nvSpPr>
      <dsp:spPr>
        <a:xfrm>
          <a:off x="1401339" y="1470545"/>
          <a:ext cx="572375" cy="572375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578C09-B761-4694-BD02-786F37BDC2B8}">
      <dsp:nvSpPr>
        <dsp:cNvPr id="0" name=""/>
        <dsp:cNvSpPr/>
      </dsp:nvSpPr>
      <dsp:spPr>
        <a:xfrm rot="10800000">
          <a:off x="1687527" y="2205685"/>
          <a:ext cx="6131631" cy="57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2402" tIns="76200" rIns="14224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2000" b="0" i="0" u="none" strike="noStrike" kern="1200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Used to study a medical product</a:t>
          </a:r>
        </a:p>
      </dsp:txBody>
      <dsp:txXfrm rot="10800000">
        <a:off x="1830621" y="2205685"/>
        <a:ext cx="5988537" cy="572375"/>
      </dsp:txXfrm>
    </dsp:sp>
    <dsp:sp modelId="{0B89D935-E704-445C-A3B2-28D4F05EF78A}">
      <dsp:nvSpPr>
        <dsp:cNvPr id="0" name=""/>
        <dsp:cNvSpPr/>
      </dsp:nvSpPr>
      <dsp:spPr>
        <a:xfrm>
          <a:off x="1401339" y="2205685"/>
          <a:ext cx="572375" cy="572375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735F45-2363-4C51-85FC-0F76DEA7D401}">
      <dsp:nvSpPr>
        <dsp:cNvPr id="0" name=""/>
        <dsp:cNvSpPr/>
      </dsp:nvSpPr>
      <dsp:spPr>
        <a:xfrm rot="10800000">
          <a:off x="1687527" y="2940824"/>
          <a:ext cx="6131631" cy="57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2402" tIns="76200" rIns="14224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2000" b="0" i="0" u="none" strike="noStrike" kern="1200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Used as a companion or adjunct to a medical product, </a:t>
          </a:r>
          <a:br>
            <a:rPr kumimoji="0" lang="en-US" sz="2000" b="0" i="0" u="none" strike="noStrike" kern="1200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</a:br>
          <a:r>
            <a:rPr kumimoji="0" lang="en-US" sz="2000" b="0" i="0" u="none" strike="noStrike" kern="1200" cap="none" spc="0" normalizeH="0" baseline="0" noProof="0" dirty="0">
              <a:ln/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rPr>
            <a:t>including diagnostics and therapeutics.</a:t>
          </a:r>
        </a:p>
      </dsp:txBody>
      <dsp:txXfrm rot="10800000">
        <a:off x="1830621" y="2940824"/>
        <a:ext cx="5988537" cy="572375"/>
      </dsp:txXfrm>
    </dsp:sp>
    <dsp:sp modelId="{941CDC40-2F20-4989-AE79-73419E0BE2B9}">
      <dsp:nvSpPr>
        <dsp:cNvPr id="0" name=""/>
        <dsp:cNvSpPr/>
      </dsp:nvSpPr>
      <dsp:spPr>
        <a:xfrm>
          <a:off x="1401339" y="2940824"/>
          <a:ext cx="572375" cy="572375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165901-745E-4A35-8607-FF4D3E288409}">
      <dsp:nvSpPr>
        <dsp:cNvPr id="0" name=""/>
        <dsp:cNvSpPr/>
      </dsp:nvSpPr>
      <dsp:spPr>
        <a:xfrm>
          <a:off x="656" y="166428"/>
          <a:ext cx="2561089" cy="15366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noProof="0">
              <a:solidFill>
                <a:schemeClr val="tx1"/>
              </a:solidFill>
            </a:rPr>
            <a:t>Regulatory Innovation/Strategic Initiatives</a:t>
          </a:r>
          <a:endParaRPr lang="en-US" sz="1600" kern="1200" dirty="0">
            <a:solidFill>
              <a:schemeClr val="tx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 dirty="0"/>
            <a:t>Pre-Cert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 dirty="0"/>
            <a:t>Wearabl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 dirty="0"/>
            <a:t>Interoperabilit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 dirty="0"/>
            <a:t>Digital Biomarkers</a:t>
          </a:r>
        </a:p>
      </dsp:txBody>
      <dsp:txXfrm>
        <a:off x="656" y="166428"/>
        <a:ext cx="2561089" cy="1536653"/>
      </dsp:txXfrm>
    </dsp:sp>
    <dsp:sp modelId="{EA95B292-F6D3-4979-A2A0-987638F63285}">
      <dsp:nvSpPr>
        <dsp:cNvPr id="0" name=""/>
        <dsp:cNvSpPr/>
      </dsp:nvSpPr>
      <dsp:spPr>
        <a:xfrm>
          <a:off x="2817855" y="166428"/>
          <a:ext cx="2561089" cy="15366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noProof="0" dirty="0">
              <a:solidFill>
                <a:schemeClr val="tx1"/>
              </a:solidFill>
            </a:rPr>
            <a:t>DH Technology Support</a:t>
          </a:r>
          <a:endParaRPr lang="en-US" sz="16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ubmission policy suppor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noProof="0" dirty="0"/>
            <a:t>Wearabl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noProof="0" dirty="0"/>
            <a:t>Software development practic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oftware and digital health standards </a:t>
          </a:r>
          <a:endParaRPr lang="en-US" sz="1200" kern="1200" noProof="0" dirty="0"/>
        </a:p>
      </dsp:txBody>
      <dsp:txXfrm>
        <a:off x="2817855" y="166428"/>
        <a:ext cx="2561089" cy="1536653"/>
      </dsp:txXfrm>
    </dsp:sp>
    <dsp:sp modelId="{6649DABA-72E0-4284-BDAA-E47A0C2B17F5}">
      <dsp:nvSpPr>
        <dsp:cNvPr id="0" name=""/>
        <dsp:cNvSpPr/>
      </dsp:nvSpPr>
      <dsp:spPr>
        <a:xfrm>
          <a:off x="656" y="1959191"/>
          <a:ext cx="2561089" cy="15366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noProof="0">
              <a:solidFill>
                <a:schemeClr val="tx1"/>
              </a:solidFill>
            </a:rPr>
            <a:t>DHCoE Operations &amp; Coordination/Partnerships</a:t>
          </a:r>
          <a:endParaRPr lang="en-US" sz="1600" kern="1200" noProof="0" dirty="0">
            <a:solidFill>
              <a:schemeClr val="tx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u="sng" kern="1200" noProof="0" dirty="0"/>
            <a:t>Internal: </a:t>
          </a:r>
          <a:r>
            <a:rPr lang="en-US" sz="1400" kern="1200" noProof="0" dirty="0"/>
            <a:t>Steering Committee, Advisory Group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u="sng" kern="1200" noProof="0" dirty="0"/>
            <a:t>External: </a:t>
          </a:r>
          <a:r>
            <a:rPr lang="en-US" sz="1400" kern="1200" noProof="0" dirty="0"/>
            <a:t>collaborations and partnerships</a:t>
          </a:r>
        </a:p>
      </dsp:txBody>
      <dsp:txXfrm>
        <a:off x="656" y="1959191"/>
        <a:ext cx="2561089" cy="1536653"/>
      </dsp:txXfrm>
    </dsp:sp>
    <dsp:sp modelId="{B119AAC4-D017-429A-B069-C311EE67B4A1}">
      <dsp:nvSpPr>
        <dsp:cNvPr id="0" name=""/>
        <dsp:cNvSpPr/>
      </dsp:nvSpPr>
      <dsp:spPr>
        <a:xfrm>
          <a:off x="2817855" y="1959191"/>
          <a:ext cx="2561089" cy="15366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noProof="0">
              <a:solidFill>
                <a:schemeClr val="tx1"/>
              </a:solidFill>
            </a:rPr>
            <a:t>DH Policy Development/ Support</a:t>
          </a:r>
          <a:endParaRPr lang="en-US" sz="16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Policy development and suppor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DH inquiri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noProof="0"/>
            <a:t>Guidance/Policy development</a:t>
          </a:r>
          <a:endParaRPr lang="en-US" sz="1200" kern="1200" noProof="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ubmission support</a:t>
          </a:r>
        </a:p>
      </dsp:txBody>
      <dsp:txXfrm>
        <a:off x="2817855" y="1959191"/>
        <a:ext cx="2561089" cy="1536653"/>
      </dsp:txXfrm>
    </dsp:sp>
    <dsp:sp modelId="{BB346742-F866-4E30-8745-5BA52B9C2B22}">
      <dsp:nvSpPr>
        <dsp:cNvPr id="0" name=""/>
        <dsp:cNvSpPr/>
      </dsp:nvSpPr>
      <dsp:spPr>
        <a:xfrm>
          <a:off x="1409256" y="3751953"/>
          <a:ext cx="2561089" cy="15366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AI/ML in Medical Products</a:t>
          </a:r>
          <a:endParaRPr lang="en-US" sz="1600" kern="1200" noProof="0" dirty="0">
            <a:solidFill>
              <a:schemeClr val="tx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olicy development and support</a:t>
          </a:r>
          <a:endParaRPr lang="en-US" sz="1400" kern="1200" noProof="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IMDRF collaboration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External engagement/ collaboration</a:t>
          </a:r>
        </a:p>
      </dsp:txBody>
      <dsp:txXfrm>
        <a:off x="1409256" y="3751953"/>
        <a:ext cx="2561089" cy="153665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116ECC-49DF-42E3-AB57-954A3255D54D}">
      <dsp:nvSpPr>
        <dsp:cNvPr id="0" name=""/>
        <dsp:cNvSpPr/>
      </dsp:nvSpPr>
      <dsp:spPr>
        <a:xfrm>
          <a:off x="656" y="166428"/>
          <a:ext cx="2561089" cy="1536653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noProof="0">
              <a:solidFill>
                <a:schemeClr val="tx1"/>
              </a:solidFill>
            </a:rPr>
            <a:t>Advancing Regulatory  Science</a:t>
          </a:r>
          <a:endParaRPr lang="en-US" sz="1700" kern="1200" dirty="0">
            <a:solidFill>
              <a:schemeClr val="tx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Digital Pathology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Patient-Generated Data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Virtual Reality/Augmented Reality</a:t>
          </a:r>
        </a:p>
      </dsp:txBody>
      <dsp:txXfrm>
        <a:off x="656" y="166428"/>
        <a:ext cx="2561089" cy="1536653"/>
      </dsp:txXfrm>
    </dsp:sp>
    <dsp:sp modelId="{DBB522B8-D247-4285-BABA-C3F49727C7A6}">
      <dsp:nvSpPr>
        <dsp:cNvPr id="0" name=""/>
        <dsp:cNvSpPr/>
      </dsp:nvSpPr>
      <dsp:spPr>
        <a:xfrm>
          <a:off x="2817855" y="166428"/>
          <a:ext cx="2561089" cy="1536653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noProof="0" dirty="0">
              <a:solidFill>
                <a:schemeClr val="tx1"/>
              </a:solidFill>
            </a:rPr>
            <a:t>Advanced Manufacturing</a:t>
          </a:r>
          <a:endParaRPr lang="en-US" sz="1700" kern="1200" dirty="0">
            <a:solidFill>
              <a:schemeClr val="tx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noProof="0" dirty="0"/>
            <a:t>Case for Quality (Software in Manufacturing)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noProof="0" dirty="0"/>
            <a:t>Software used to manufacture medical device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noProof="0" dirty="0"/>
            <a:t>Digital twin for manufacturing</a:t>
          </a:r>
          <a:endParaRPr lang="en-US" sz="1300" kern="1200" dirty="0"/>
        </a:p>
      </dsp:txBody>
      <dsp:txXfrm>
        <a:off x="2817855" y="166428"/>
        <a:ext cx="2561089" cy="1536653"/>
      </dsp:txXfrm>
    </dsp:sp>
    <dsp:sp modelId="{AF2248AB-02AC-4BF7-AD13-7EDBF1BE3A70}">
      <dsp:nvSpPr>
        <dsp:cNvPr id="0" name=""/>
        <dsp:cNvSpPr/>
      </dsp:nvSpPr>
      <dsp:spPr>
        <a:xfrm>
          <a:off x="656" y="1959191"/>
          <a:ext cx="2561089" cy="1536653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noProof="0">
              <a:solidFill>
                <a:schemeClr val="tx1"/>
              </a:solidFill>
            </a:rPr>
            <a:t>Regulatory Review Support</a:t>
          </a:r>
          <a:endParaRPr lang="en-US" sz="1700" kern="1200" dirty="0">
            <a:solidFill>
              <a:schemeClr val="tx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Day – day review support for OHT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Implement DH policie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Training for reviewer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Implement competency tiers</a:t>
          </a:r>
        </a:p>
      </dsp:txBody>
      <dsp:txXfrm>
        <a:off x="656" y="1959191"/>
        <a:ext cx="2561089" cy="1536653"/>
      </dsp:txXfrm>
    </dsp:sp>
    <dsp:sp modelId="{03E916D8-D468-4164-BAB9-0CB5AA9C018C}">
      <dsp:nvSpPr>
        <dsp:cNvPr id="0" name=""/>
        <dsp:cNvSpPr/>
      </dsp:nvSpPr>
      <dsp:spPr>
        <a:xfrm>
          <a:off x="2817855" y="1959191"/>
          <a:ext cx="2561089" cy="1536653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noProof="0">
              <a:solidFill>
                <a:schemeClr val="tx1"/>
              </a:solidFill>
            </a:rPr>
            <a:t>Advanced Clinical S</a:t>
          </a:r>
          <a:r>
            <a:rPr lang="en-US" sz="1700" kern="1200">
              <a:solidFill>
                <a:schemeClr val="tx1"/>
              </a:solidFill>
            </a:rPr>
            <a:t>tudies and RWE</a:t>
          </a:r>
          <a:endParaRPr lang="en-US" sz="1700" kern="1200" dirty="0">
            <a:solidFill>
              <a:schemeClr val="tx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noProof="0"/>
            <a:t>In silico modeling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noProof="0" dirty="0"/>
            <a:t>Use of RWE </a:t>
          </a:r>
          <a:r>
            <a:rPr lang="en-US" sz="1300" kern="1200" dirty="0"/>
            <a:t>in DH devices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noProof="0"/>
            <a:t>RWE from digital health technology</a:t>
          </a:r>
          <a:endParaRPr lang="en-US" sz="1300" kern="1200" noProof="0" dirty="0"/>
        </a:p>
      </dsp:txBody>
      <dsp:txXfrm>
        <a:off x="2817855" y="1959191"/>
        <a:ext cx="2561089" cy="1536653"/>
      </dsp:txXfrm>
    </dsp:sp>
    <dsp:sp modelId="{8EF2904E-4C78-42A5-BC07-F7056139C38E}">
      <dsp:nvSpPr>
        <dsp:cNvPr id="0" name=""/>
        <dsp:cNvSpPr/>
      </dsp:nvSpPr>
      <dsp:spPr>
        <a:xfrm>
          <a:off x="1409256" y="3751953"/>
          <a:ext cx="2561089" cy="1536653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0" kern="1200" noProof="0" dirty="0">
              <a:solidFill>
                <a:schemeClr val="tx1"/>
              </a:solidFill>
            </a:rPr>
            <a:t>Medical Device Cybersecurity</a:t>
          </a:r>
          <a:endParaRPr lang="en-US" sz="1700" b="0" kern="1200" dirty="0">
            <a:solidFill>
              <a:schemeClr val="tx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Policy development and support</a:t>
          </a:r>
          <a:endParaRPr lang="en-US" sz="1300" kern="1200" noProof="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IMDRF collaboration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External engagement/ collaboration</a:t>
          </a:r>
        </a:p>
      </dsp:txBody>
      <dsp:txXfrm>
        <a:off x="1409256" y="3751953"/>
        <a:ext cx="2561089" cy="153665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46715E-CAD2-4430-B011-766D753A67E3}">
      <dsp:nvSpPr>
        <dsp:cNvPr id="0" name=""/>
        <dsp:cNvSpPr/>
      </dsp:nvSpPr>
      <dsp:spPr>
        <a:xfrm rot="5400000">
          <a:off x="963835" y="1167356"/>
          <a:ext cx="2014321" cy="3351785"/>
        </a:xfrm>
        <a:prstGeom prst="corner">
          <a:avLst>
            <a:gd name="adj1" fmla="val 16120"/>
            <a:gd name="adj2" fmla="val 16110"/>
          </a:avLst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ED7D3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3394D7-0F09-48BB-AACB-8900F481922E}">
      <dsp:nvSpPr>
        <dsp:cNvPr id="0" name=""/>
        <dsp:cNvSpPr/>
      </dsp:nvSpPr>
      <dsp:spPr>
        <a:xfrm>
          <a:off x="615536" y="2168818"/>
          <a:ext cx="3276413" cy="2652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Phase I: Communication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i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Fall 2020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Stakeholder Listening Session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Update and develop resources for FDA staff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Begin operationalizing the DHCoE and outcome measuremen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Amplify current work being done at FDA in digital health</a:t>
          </a:r>
        </a:p>
      </dsp:txBody>
      <dsp:txXfrm>
        <a:off x="615536" y="2168818"/>
        <a:ext cx="3276413" cy="2652475"/>
      </dsp:txXfrm>
    </dsp:sp>
    <dsp:sp modelId="{585397B5-DD20-43F8-840F-34C7F44C8846}">
      <dsp:nvSpPr>
        <dsp:cNvPr id="0" name=""/>
        <dsp:cNvSpPr/>
      </dsp:nvSpPr>
      <dsp:spPr>
        <a:xfrm>
          <a:off x="3082660" y="1159677"/>
          <a:ext cx="570945" cy="570945"/>
        </a:xfrm>
        <a:prstGeom prst="triangle">
          <a:avLst>
            <a:gd name="adj" fmla="val 100000"/>
          </a:avLst>
        </a:prstGeom>
        <a:solidFill>
          <a:srgbClr val="A5A5A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A5A5A5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26E0D5-26FE-4CAA-8BC7-FD8016CA4759}">
      <dsp:nvSpPr>
        <dsp:cNvPr id="0" name=""/>
        <dsp:cNvSpPr/>
      </dsp:nvSpPr>
      <dsp:spPr>
        <a:xfrm rot="5400000">
          <a:off x="4793465" y="250692"/>
          <a:ext cx="2014321" cy="3351785"/>
        </a:xfrm>
        <a:prstGeom prst="corner">
          <a:avLst>
            <a:gd name="adj1" fmla="val 16120"/>
            <a:gd name="adj2" fmla="val 16110"/>
          </a:avLst>
        </a:prstGeom>
        <a:solidFill>
          <a:srgbClr val="FFC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C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EA2779-944F-45B8-BCE9-6ACCD99B660B}">
      <dsp:nvSpPr>
        <dsp:cNvPr id="0" name=""/>
        <dsp:cNvSpPr/>
      </dsp:nvSpPr>
      <dsp:spPr>
        <a:xfrm>
          <a:off x="4437450" y="1252153"/>
          <a:ext cx="3250752" cy="2652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Phase II: Coordinat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i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Fall and Winter 2020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Build strategic partnerships for policy, regulatory science, and fellowship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Develop resources for external stakeholder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Create a digital health community of practice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Assemble FDA and CDRH advisory groups</a:t>
          </a:r>
        </a:p>
      </dsp:txBody>
      <dsp:txXfrm>
        <a:off x="4437450" y="1252153"/>
        <a:ext cx="3250752" cy="2652475"/>
      </dsp:txXfrm>
    </dsp:sp>
    <dsp:sp modelId="{FA4AA0AD-EEE6-4137-8E93-12458E54F6EC}">
      <dsp:nvSpPr>
        <dsp:cNvPr id="0" name=""/>
        <dsp:cNvSpPr/>
      </dsp:nvSpPr>
      <dsp:spPr>
        <a:xfrm>
          <a:off x="6912290" y="259353"/>
          <a:ext cx="570945" cy="570945"/>
        </a:xfrm>
        <a:prstGeom prst="triangle">
          <a:avLst>
            <a:gd name="adj" fmla="val 100000"/>
          </a:avLst>
        </a:prstGeom>
        <a:solidFill>
          <a:srgbClr val="4472C4"/>
        </a:solidFill>
        <a:ln w="12700" cap="flat" cmpd="sng" algn="ctr">
          <a:solidFill>
            <a:srgbClr val="5B9BD5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1C07E7-D284-47CC-A7BB-7690FFBBF139}">
      <dsp:nvSpPr>
        <dsp:cNvPr id="0" name=""/>
        <dsp:cNvSpPr/>
      </dsp:nvSpPr>
      <dsp:spPr>
        <a:xfrm rot="5400000">
          <a:off x="8623094" y="-665972"/>
          <a:ext cx="2014321" cy="3351785"/>
        </a:xfrm>
        <a:prstGeom prst="corner">
          <a:avLst>
            <a:gd name="adj1" fmla="val 16120"/>
            <a:gd name="adj2" fmla="val 16110"/>
          </a:avLst>
        </a:prstGeom>
        <a:solidFill>
          <a:srgbClr val="70AD47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70AD47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A16A27-23A2-4F86-820B-10446185007F}">
      <dsp:nvSpPr>
        <dsp:cNvPr id="0" name=""/>
        <dsp:cNvSpPr/>
      </dsp:nvSpPr>
      <dsp:spPr>
        <a:xfrm>
          <a:off x="8283162" y="335489"/>
          <a:ext cx="3383140" cy="2652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Phase III: Amplify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i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Winter 2021 onwards</a:t>
          </a:r>
          <a:endParaRPr lang="en-US" sz="1400" i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Continued strategic partnership building and communic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Update and implement regulatory framework for digital healt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Harmonization with other regulators</a:t>
          </a:r>
        </a:p>
      </dsp:txBody>
      <dsp:txXfrm>
        <a:off x="8283162" y="335489"/>
        <a:ext cx="3383140" cy="26524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9-21T18:10:09.352"/>
    </inkml:context>
    <inkml:brush xml:id="br0">
      <inkml:brushProperty name="width" value="0.35" units="cm"/>
      <inkml:brushProperty name="height" value="0.35" units="cm"/>
      <inkml:brushProperty name="color" value="#FFFFFF"/>
      <inkml:brushProperty name="ignorePressure" value="1"/>
    </inkml:brush>
  </inkml:definitions>
  <inkml:trace contextRef="#ctx0" brushRef="#br0">612 66,'-131'0,"-349"0,594-18,39-3,-1 6,62 5,-208 10,-4-1,0 1,-1 0,1-1,-1 1,1 0,-1 0,1 0,0 0,-1 0,1 1,-1-1,1 0,-1 1,1-1,-1 1,1-1,-1 1,1 0,-1 0,0 0,1-1,-1 1,0 0,0 1,0-1,0 0,0 0,0 0,1 2,-3-1,0 0,0 0,0 0,0 0,0 0,0 0,0-1,0 1,-1 0,1-1,-1 1,0 0,1-1,-1 0,0 1,0-1,0 0,0 0,0 0,-47 14,15-7,-38 15,-1-4,-1-3,0-3,-1-4,0-2,-43-4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26A5FA-A733-7B41-90CD-4C7D59CF0695}" type="datetimeFigureOut">
              <a:rPr lang="en-US" smtClean="0"/>
              <a:t>2/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8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7E672D-3658-9A46-BB89-EAA9E81AAD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2238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7E672D-3658-9A46-BB89-EAA9E81AAD1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2700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ld for panel discussion: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Of the DHCoE priorities identified today: What is the most urgent? What is the low-hanging fruit?</a:t>
            </a:r>
          </a:p>
          <a:p>
            <a:pPr marL="228600" indent="-228600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7E672D-3658-9A46-BB89-EAA9E81AAD1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7625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2987D5-571C-4AA8-8C51-DFCCC55DE0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94122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2987D5-571C-4AA8-8C51-DFCCC55DE0D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9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41297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9363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2987D5-571C-4AA8-8C51-DFCCC55DE0D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9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60590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2987D5-571C-4AA8-8C51-DFCCC55DE0D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504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gital health can be considered as the convergence of connectivity, data, and computing power for healthcare and related uses across the life of an individual or patient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gital health is moving healthcare from the clinic to patient, understanding the behavior and physiology in the wild, and enables early and smaller intervention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F59385-4D3D-4D2C-BE72-9C77C6E580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2050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2987D5-571C-4AA8-8C51-DFCCC55DE0D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8456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de Purpose: Answer - Why and What has brought us to building the CO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E672D-3658-9A46-BB89-EAA9E81AAD1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9760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E672D-3658-9A46-BB89-EAA9E81AAD1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8054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7E672D-3658-9A46-BB89-EAA9E81AAD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59635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ternal to FDA: Partner, Coordinate, Promote</a:t>
            </a:r>
          </a:p>
          <a:p>
            <a:pPr lvl="0"/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Provide clarity on regulation</a:t>
            </a:r>
            <a:endParaRPr lang="en-US" sz="1200" dirty="0">
              <a:highlight>
                <a:srgbClr val="FFFF00"/>
              </a:highligh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Advance international harmonization on policy</a:t>
            </a:r>
          </a:p>
          <a:p>
            <a:pPr lvl="0"/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Facilitate and build strategic partnerships</a:t>
            </a:r>
          </a:p>
          <a:p>
            <a:pPr lvl="0"/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Communicate FDA research interests </a:t>
            </a:r>
          </a:p>
          <a:p>
            <a:endParaRPr lang="en-US" dirty="0"/>
          </a:p>
          <a:p>
            <a:r>
              <a:rPr lang="en-US" dirty="0"/>
              <a:t>FDA-wide: Support, Align, Amplify</a:t>
            </a: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rovide training opportunities for FDA staff</a:t>
            </a:r>
            <a:endParaRPr lang="en-US" dirty="0"/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Foster collaboration on common interest areas </a:t>
            </a:r>
            <a:endParaRPr lang="en-US" dirty="0"/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Identify and prioritize regulatory science needs for digital health topics</a:t>
            </a: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oordination: Leverage, share, and avoid duplication of work</a:t>
            </a: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romote, showcase, and amplify existing work at the centers</a:t>
            </a: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isseminate shared resources</a:t>
            </a: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rovide scientific expertise across the Agency</a:t>
            </a:r>
          </a:p>
          <a:p>
            <a:pPr lvl="0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DRH Specific: Lead, Build, Enable</a:t>
            </a:r>
          </a:p>
          <a:p>
            <a:pPr lvl="0">
              <a:buFont typeface="Arial" panose="020B0604020202020204" pitchFamily="34" charset="0"/>
              <a:buNone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et and lead strategic direction in digital health</a:t>
            </a:r>
            <a:endParaRPr lang="en-US" dirty="0"/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aunch strategic Initiatives</a:t>
            </a: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stablish and promote best practices </a:t>
            </a: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nable efficient, transparent, and predictable product review with consistent evaluation quality </a:t>
            </a: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Build new capacity to oversee and leverage DH technologies</a:t>
            </a: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reate more shared resources</a:t>
            </a:r>
          </a:p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oordinate the development of cross cutting DH policies</a:t>
            </a:r>
          </a:p>
          <a:p>
            <a:pPr lvl="0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E672D-3658-9A46-BB89-EAA9E81AAD1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0930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Hold for panel discussion: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What additional services would stakeholders like to see that are not listed here?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How can the DHCoE best collaborate/engage with stakeholders on these services?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E672D-3658-9A46-BB89-EAA9E81AAD1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4551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E672D-3658-9A46-BB89-EAA9E81AAD1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590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7" name="Picture 16" descr="FDA_B&amp;W_Primary_logo.jpg">
            <a:extLst>
              <a:ext uri="{FF2B5EF4-FFF2-40B4-BE49-F238E27FC236}">
                <a16:creationId xmlns:a16="http://schemas.microsoft.com/office/drawing/2014/main" id="{7A12B67F-AB4D-44A8-8123-ABDB4323A3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8" y="268155"/>
            <a:ext cx="2178810" cy="34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5682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9552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311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80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2684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3685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speaker not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19747621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1" name="Picture 10" descr="FDA_B&amp;W_Primary_logo.jpg">
            <a:extLst>
              <a:ext uri="{FF2B5EF4-FFF2-40B4-BE49-F238E27FC236}">
                <a16:creationId xmlns:a16="http://schemas.microsoft.com/office/drawing/2014/main" id="{5B7967AD-B32B-4AAA-88F3-03FE427D0E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976" y="3523447"/>
            <a:ext cx="2785539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06189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28282DF-46F2-4BC5-A899-5C3FF3C8BE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52033" y="6477874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827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14846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031475" y="635526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FDA_B&amp;W_Primary_log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263" y="261425"/>
            <a:ext cx="3604563" cy="56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5327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794" y="202560"/>
            <a:ext cx="10759087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794" y="1191068"/>
            <a:ext cx="11345471" cy="50927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02200" y="6375401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9587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descr="FDA_B&amp;W_Primary_logo.jpg">
            <a:extLst>
              <a:ext uri="{FF2B5EF4-FFF2-40B4-BE49-F238E27FC236}">
                <a16:creationId xmlns:a16="http://schemas.microsoft.com/office/drawing/2014/main" id="{92164888-0FC6-4A6E-A06E-1DE1445D7C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221" y="268156"/>
            <a:ext cx="2206294" cy="344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7893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4804685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13112" y="6349337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 descr="FDA_FullColor_Monogram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881" y="269796"/>
            <a:ext cx="827391" cy="743080"/>
          </a:xfrm>
          <a:prstGeom prst="rect">
            <a:avLst/>
          </a:prstGeom>
        </p:spPr>
      </p:pic>
      <p:pic>
        <p:nvPicPr>
          <p:cNvPr id="1026" name="Picture 2" descr="C:\Users\BYP\AppData\Local\Microsoft\Windows\Temporary Internet Files\Content.Outlook\TLCAUALT\DH_Final_06292017 (2)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3742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116A144-5233-49CD-89A0-331BD50675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7931"/>
            <a:ext cx="12192000" cy="6314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363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340280" cy="8205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28060"/>
            <a:ext cx="5384800" cy="501325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28060"/>
            <a:ext cx="5384800" cy="501325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85743" y="6380337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6964371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0840"/>
            <a:ext cx="10340280" cy="82296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09811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749573"/>
            <a:ext cx="5386917" cy="4523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109811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1749573"/>
            <a:ext cx="5389033" cy="4523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181600" y="6384926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2252859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340280" cy="71094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94913" y="6391750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5183297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20684" y="6349338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6041275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8685" y="6384926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9916101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40321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-1066696" y="1390340"/>
            <a:ext cx="2895600" cy="48683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 rot="5400000">
            <a:off x="218095" y="6376216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962862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667533" y="6354124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 descr="FDA_FullColor_Monogram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1061942" y="5184030"/>
            <a:ext cx="620543" cy="99077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1509710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FDA_B&amp;W_Primary_log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981" y="2648602"/>
            <a:ext cx="5598024" cy="874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572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3C81DA8-1737-4204-81EA-B29E6ED2F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52033" y="6477874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827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313974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657600" y="6589712"/>
            <a:ext cx="4876800" cy="2682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F78B12-E768-4F6C-8DDB-3CF342EF2FAD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09600" y="1447800"/>
            <a:ext cx="53848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4"/>
          </p:nvPr>
        </p:nvSpPr>
        <p:spPr>
          <a:xfrm>
            <a:off x="6197600" y="1447800"/>
            <a:ext cx="53848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45655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D628A6-CDF5-402A-BA3A-527D8E8E3B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19A87E-E02B-4116-9BEB-157FAB17DC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977B94-01CD-4E23-B52F-115DB94A32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56BCD-DDD9-4961-84DB-35904B0B5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266C5A-DA19-4F38-9914-3CB39073B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189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9E8D98-8772-4BD1-AE62-55B691717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6B697C-082F-492B-99C0-1014F32AE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FC393F-451E-4DED-9F8F-66CD02448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F4E615-127C-4A50-8EB5-D96DA6BC62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A9783-2CE3-4398-AEFF-EA69B6DE3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5952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27BBA-6E4B-4805-820A-4B6F331CB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468C6B-1B22-4F7B-A87D-42A455F32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F39724-228F-4CDE-8AAE-2CBD26D8A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DF6753-1A21-433A-B36B-FF08F55C7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D67A57-48D7-4B63-9553-7CB7D64F5A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7652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DE09B-2A80-4B45-B572-D116A768E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8C5C2C-47FB-4451-82FF-8EA4ED4AA4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E4FA20-9281-4DDE-9A59-B7F43E5FDA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44B390-98A8-466C-B126-7E8726C17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4BBF3D-B2D3-46DC-B57C-4D2CE95BB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2F6901-65E8-4A45-BD0B-AB689D2C2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1330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DD437-E12E-48DA-8597-72F35FEEA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65F63C-B91F-4D58-98F5-C0147359DF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2DE1AF-6C7C-42F7-99A1-FD2B47639A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74F1D6-7BDA-4864-B2F3-C59FC9C665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0C556E8-3183-418A-9127-0A4F2EB1D49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2A7A4A2-FBBC-4498-8FD8-374AA5D7C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DEB733-5034-4298-BD5D-0AF47CA89A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42179E-6904-4413-9C35-362B0634B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849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2F067B-A1F3-4964-9A7A-C6CDDA8500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255F0E1-5D8F-454E-9895-35447404C7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55070A-5D01-4B96-8878-BAA8D00D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FE14E3-41D4-4D74-9FDA-9525488CA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3121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E9F840-5357-4D66-9AF0-A0EFD3552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3F5320-2C9F-472B-AFF6-734B7329B4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F395E0-B709-4D1E-AC65-2DF435603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2736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026ED7-CB90-43A3-97A9-6D227391B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98CCD6-5F75-435E-9405-E643541EFE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2C2419-B0DB-4B43-8983-312D42006C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A7E090-48E0-4E20-B6A7-9F2225AF4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B54CCE-B6A0-4E91-89D0-9B6076B2C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ED4B06-3ED0-4F2E-B822-87D38C8EF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7621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75895-E3A0-4DDC-8720-90F51DF562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527EF2-5F2D-414D-A64C-3E1C24C8F3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0BE50F-0187-49A3-9CD6-117F0076FA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8B2C5E-B85F-4E97-99B2-BEDA26E7B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772D76-E44C-43CE-8328-67A174484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CF0640-56A4-46E0-ABC3-8F8EB7862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1833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1905000" y="6477874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1088105"/>
            <a:endParaRPr lang="en-US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8FC77A7-C642-4CC5-9E9F-461CC8D7103A}"/>
              </a:ext>
            </a:extLst>
          </p:cNvPr>
          <p:cNvSpPr txBox="1">
            <a:spLocks/>
          </p:cNvSpPr>
          <p:nvPr userDrawn="1"/>
        </p:nvSpPr>
        <p:spPr>
          <a:xfrm>
            <a:off x="4752033" y="649797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rgbClr val="00827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ea typeface="Segoe UI" panose="020B0502040204020203" pitchFamily="34" charset="0"/>
                <a:cs typeface="Segoe UI" panose="020B0502040204020203" pitchFamily="34" charset="0"/>
              </a:rPr>
              <a:t>www.fda.gov/digitalheal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684112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8784C-AD32-4AC6-9AA7-534284A76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A375E11-50B0-4987-908D-9762007827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DD621A-98F8-4DEC-A264-934E8ADBB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C6A6E-0624-41E0-8DE8-627850096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DCFE8-56C2-4613-A4E5-A0C6E09ED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1108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3150BB3-A38D-48CA-ACDD-AAE8A3E5F2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6CFC60-6865-44B1-938F-19EF10D967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22C118-1423-4AB9-94B2-DEF6251122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EC41D3-FAE6-45C2-9D7E-819EED168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902E75-9FFC-472B-862F-A2FED063C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6426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031475" y="635526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FDA_B&amp;W_Primary_log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263" y="261425"/>
            <a:ext cx="3604563" cy="56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9682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794" y="202560"/>
            <a:ext cx="10759087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794" y="1191068"/>
            <a:ext cx="11345471" cy="5092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02200" y="6375401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2459355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117993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13112" y="6349337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 descr="FDA_FullColor_Monogram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881" y="269796"/>
            <a:ext cx="827391" cy="743080"/>
          </a:xfrm>
          <a:prstGeom prst="rect">
            <a:avLst/>
          </a:prstGeom>
        </p:spPr>
      </p:pic>
      <p:pic>
        <p:nvPicPr>
          <p:cNvPr id="1026" name="Picture 2" descr="C:\Users\BYP\AppData\Local\Microsoft\Windows\Temporary Internet Files\Content.Outlook\TLCAUALT\DH_Final_06292017 (2)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3742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116A144-5233-49CD-89A0-331BD50675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7931"/>
            <a:ext cx="12192000" cy="6314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4280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340280" cy="8205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28060"/>
            <a:ext cx="5384800" cy="501325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28060"/>
            <a:ext cx="5384800" cy="501325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85743" y="6380337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284382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0840"/>
            <a:ext cx="10340280" cy="82296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09811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749573"/>
            <a:ext cx="5386917" cy="4523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109811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1749573"/>
            <a:ext cx="5389033" cy="4523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181600" y="6384926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49548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340280" cy="71094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94913" y="6391750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21808411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20684" y="6349338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222440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/>
              <a:t>Click to add developer cod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>
          <a:xfrm>
            <a:off x="1905000" y="6477874"/>
            <a:ext cx="8382000" cy="380127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DA6BD5F-BC17-44D8-A280-58F81A8E19A2}"/>
              </a:ext>
            </a:extLst>
          </p:cNvPr>
          <p:cNvSpPr txBox="1">
            <a:spLocks/>
          </p:cNvSpPr>
          <p:nvPr userDrawn="1"/>
        </p:nvSpPr>
        <p:spPr>
          <a:xfrm>
            <a:off x="4752033" y="6477874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rgbClr val="00827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ea typeface="Segoe UI" panose="020B0502040204020203" pitchFamily="34" charset="0"/>
                <a:cs typeface="Segoe UI" panose="020B0502040204020203" pitchFamily="34" charset="0"/>
              </a:rPr>
              <a:t>www.fda.gov/digitalheal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3241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8685" y="6384926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1757593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40321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-1066696" y="1390340"/>
            <a:ext cx="2895600" cy="48683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 rot="5400000">
            <a:off x="218095" y="6376216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6145424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667533" y="6354124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 descr="FDA_FullColor_Monogram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1061942" y="5184030"/>
            <a:ext cx="620543" cy="99077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9673688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FDA_B&amp;W_Primary_log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981" y="2648602"/>
            <a:ext cx="5598024" cy="874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157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657600" y="6589712"/>
            <a:ext cx="4876800" cy="2682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0961856" y="6356351"/>
            <a:ext cx="620543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F78B12-E768-4F6C-8DDB-3CF342EF2FAD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09600" y="1447800"/>
            <a:ext cx="53848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4"/>
          </p:nvPr>
        </p:nvSpPr>
        <p:spPr>
          <a:xfrm>
            <a:off x="6197600" y="1447800"/>
            <a:ext cx="53848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0988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031475" y="635526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FDA_B&amp;W_Primary_log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263" y="261425"/>
            <a:ext cx="3604563" cy="56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2912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794" y="202560"/>
            <a:ext cx="10759087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794" y="1191068"/>
            <a:ext cx="11345471" cy="5092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02200" y="6375401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81324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2600967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13112" y="6349337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 descr="FDA_FullColor_Monogram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881" y="269796"/>
            <a:ext cx="827391" cy="743080"/>
          </a:xfrm>
          <a:prstGeom prst="rect">
            <a:avLst/>
          </a:prstGeom>
        </p:spPr>
      </p:pic>
      <p:pic>
        <p:nvPicPr>
          <p:cNvPr id="1026" name="Picture 2" descr="C:\Users\BYP\AppData\Local\Microsoft\Windows\Temporary Internet Files\Content.Outlook\TLCAUALT\DH_Final_06292017 (2)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3742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116A144-5233-49CD-89A0-331BD50675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7931"/>
            <a:ext cx="12192000" cy="6314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8349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340280" cy="8205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28060"/>
            <a:ext cx="5384800" cy="501325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28060"/>
            <a:ext cx="5384800" cy="501325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85743" y="6380337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40991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905000" y="6477874"/>
            <a:ext cx="8382000" cy="380127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CD3397-30F8-463A-855F-2624C4AEEC1A}"/>
              </a:ext>
            </a:extLst>
          </p:cNvPr>
          <p:cNvSpPr txBox="1">
            <a:spLocks/>
          </p:cNvSpPr>
          <p:nvPr userDrawn="1"/>
        </p:nvSpPr>
        <p:spPr>
          <a:xfrm>
            <a:off x="4752033" y="6508018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rgbClr val="00827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ea typeface="Segoe UI" panose="020B0502040204020203" pitchFamily="34" charset="0"/>
                <a:cs typeface="Segoe UI" panose="020B0502040204020203" pitchFamily="34" charset="0"/>
              </a:rPr>
              <a:t>www.fda.gov/digitalheal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26285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0840"/>
            <a:ext cx="10340280" cy="82296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09811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749573"/>
            <a:ext cx="5386917" cy="4523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109811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1749573"/>
            <a:ext cx="5389033" cy="4523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181600" y="6384926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2713478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340280" cy="71094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94913" y="6391750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634978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20684" y="6349338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2487748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8685" y="6384926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4027325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40321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-1066696" y="1390340"/>
            <a:ext cx="2895600" cy="48683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 rot="5400000">
            <a:off x="218095" y="6376216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3979862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667533" y="6354124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 descr="FDA_FullColor_Monogram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1061942" y="5184030"/>
            <a:ext cx="620543" cy="99077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521378" y="640977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D067E6-6582-4AD4-8521-F7089C370E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0106228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FDA_B&amp;W_Primary_log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981" y="2648602"/>
            <a:ext cx="5598024" cy="874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1243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657600" y="6589712"/>
            <a:ext cx="4876800" cy="2682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0961856" y="6356351"/>
            <a:ext cx="620543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F78B12-E768-4F6C-8DDB-3CF342EF2FAD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09600" y="1447800"/>
            <a:ext cx="53848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4"/>
          </p:nvPr>
        </p:nvSpPr>
        <p:spPr>
          <a:xfrm>
            <a:off x="6197600" y="1447800"/>
            <a:ext cx="53848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630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21354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48366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148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4.jpg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4.jpg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image" Target="../media/image4.jpg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21505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6E902F-5291-4A5D-BF9F-087B1728F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52033" y="6477874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827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553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ransition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40996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71F5F-C8AF-484B-B19A-A0CBCE8C77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 descr="FDA_FullColor_Monogram.jpg">
            <a:extLst>
              <a:ext uri="{FF2B5EF4-FFF2-40B4-BE49-F238E27FC236}">
                <a16:creationId xmlns:a16="http://schemas.microsoft.com/office/drawing/2014/main" id="{4301E87E-2B0B-4144-A3F2-CB43C400B9C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1857" y="274638"/>
            <a:ext cx="620543" cy="74308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3711D89-EE7E-4C87-BBB6-AAB42020F662}"/>
              </a:ext>
            </a:extLst>
          </p:cNvPr>
          <p:cNvSpPr txBox="1"/>
          <p:nvPr userDrawn="1"/>
        </p:nvSpPr>
        <p:spPr>
          <a:xfrm>
            <a:off x="277718" y="6454030"/>
            <a:ext cx="22199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7CBA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www.fda.gov/digitalhealth</a:t>
            </a:r>
          </a:p>
        </p:txBody>
      </p:sp>
    </p:spTree>
    <p:extLst>
      <p:ext uri="{BB962C8B-B14F-4D97-AF65-F5344CB8AC3E}">
        <p14:creationId xmlns:p14="http://schemas.microsoft.com/office/powerpoint/2010/main" val="475931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4A6F340-2A68-4128-9A4F-C7B5C45E2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399C45-1D74-4E63-BC89-D0D06ACFD4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ACA92E-CB48-4556-90D2-ADD23D795B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2E7886-F5CA-4E91-AF54-E0AED15C03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F8A485-B3B1-4642-9285-DBF6880224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195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 descr="FDA_FullColor_Monogram.jpg">
            <a:extLst>
              <a:ext uri="{FF2B5EF4-FFF2-40B4-BE49-F238E27FC236}">
                <a16:creationId xmlns:a16="http://schemas.microsoft.com/office/drawing/2014/main" id="{4301E87E-2B0B-4144-A3F2-CB43C400B9C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1857" y="274638"/>
            <a:ext cx="620543" cy="74308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3711D89-EE7E-4C87-BBB6-AAB42020F662}"/>
              </a:ext>
            </a:extLst>
          </p:cNvPr>
          <p:cNvSpPr txBox="1"/>
          <p:nvPr userDrawn="1"/>
        </p:nvSpPr>
        <p:spPr>
          <a:xfrm>
            <a:off x="239618" y="6234955"/>
            <a:ext cx="22199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7CBA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www.fda.gov/digitalhealth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795C5E7-4AD7-484D-A2DE-DAE398572F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857" y="6146829"/>
            <a:ext cx="6205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71F5F-C8AF-484B-B19A-A0CBCE8C77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7848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 descr="FDA_FullColor_Monogram.jpg">
            <a:extLst>
              <a:ext uri="{FF2B5EF4-FFF2-40B4-BE49-F238E27FC236}">
                <a16:creationId xmlns:a16="http://schemas.microsoft.com/office/drawing/2014/main" id="{4301E87E-2B0B-4144-A3F2-CB43C400B9C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1857" y="274638"/>
            <a:ext cx="620543" cy="74308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3711D89-EE7E-4C87-BBB6-AAB42020F662}"/>
              </a:ext>
            </a:extLst>
          </p:cNvPr>
          <p:cNvSpPr txBox="1"/>
          <p:nvPr userDrawn="1"/>
        </p:nvSpPr>
        <p:spPr>
          <a:xfrm>
            <a:off x="277718" y="6454030"/>
            <a:ext cx="22199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7CBA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www.fda.gov/digitalhealth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795C5E7-4AD7-484D-A2DE-DAE398572F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856" y="6356351"/>
            <a:ext cx="6205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71F5F-C8AF-484B-B19A-A0CBCE8C77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763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DigitalHealth@fda.hhs.gov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7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Relationship Id="rId6" Type="http://schemas.microsoft.com/office/2007/relationships/hdphoto" Target="../media/hdphoto2.wdp"/><Relationship Id="rId5" Type="http://schemas.openxmlformats.org/officeDocument/2006/relationships/image" Target="../media/image8.jpe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0.jp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customXml" Target="../ink/ink1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8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25.JPG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image" Target="NUL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4070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95D142D-2F2B-4C92-B650-54954565FABE}"/>
              </a:ext>
            </a:extLst>
          </p:cNvPr>
          <p:cNvSpPr txBox="1"/>
          <p:nvPr/>
        </p:nvSpPr>
        <p:spPr>
          <a:xfrm>
            <a:off x="11015003" y="6581001"/>
            <a:ext cx="11769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</a:rPr>
              <a:t>July, 2020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BFA2A4-035F-44F3-99AA-268ED5830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1</a:t>
            </a:fld>
            <a:endParaRPr lang="en-US"/>
          </a:p>
        </p:txBody>
      </p:sp>
      <p:pic>
        <p:nvPicPr>
          <p:cNvPr id="4" name="Picture 3" descr="Digital Health Center of Excellence—empowering digital health stakeholders to advance health care. Image of a triangle with “empower” in the center. The three points of the triangle read from top going clockwise: Innovate, connect, and share">
            <a:extLst>
              <a:ext uri="{FF2B5EF4-FFF2-40B4-BE49-F238E27FC236}">
                <a16:creationId xmlns:a16="http://schemas.microsoft.com/office/drawing/2014/main" id="{D21A97E8-1EB4-426A-AB5D-42F4B89EE4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4191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B49248-C999-436D-A5D1-CCBB1B628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4000" dirty="0">
                <a:solidFill>
                  <a:srgbClr val="3A96D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HCoE Services</a:t>
            </a:r>
          </a:p>
        </p:txBody>
      </p:sp>
      <p:pic>
        <p:nvPicPr>
          <p:cNvPr id="6" name="Picture 5" descr="Note with tab. The note says &quot;CDRH Specific- Lead/Build/Coordinate&quot;">
            <a:extLst>
              <a:ext uri="{FF2B5EF4-FFF2-40B4-BE49-F238E27FC236}">
                <a16:creationId xmlns:a16="http://schemas.microsoft.com/office/drawing/2014/main" id="{6A54FD22-5704-41D8-BBE2-889FE7E2F5C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707"/>
          <a:stretch/>
        </p:blipFill>
        <p:spPr>
          <a:xfrm>
            <a:off x="1635774" y="1359876"/>
            <a:ext cx="8920452" cy="154715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F7CDA03-BDAB-4C11-875C-6CF9B0392109}"/>
              </a:ext>
            </a:extLst>
          </p:cNvPr>
          <p:cNvSpPr/>
          <p:nvPr/>
        </p:nvSpPr>
        <p:spPr>
          <a:xfrm>
            <a:off x="1635774" y="2907027"/>
            <a:ext cx="8920452" cy="339852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60375" lvl="1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t and lead strategic direction in digital health</a:t>
            </a:r>
            <a:endParaRPr lang="en-US" sz="2000" dirty="0">
              <a:solidFill>
                <a:schemeClr val="tx1"/>
              </a:solidFill>
            </a:endParaRPr>
          </a:p>
          <a:p>
            <a:pPr marL="460375" lvl="1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dentify and coordinate regulatory science priorities for CDRH</a:t>
            </a:r>
          </a:p>
          <a:p>
            <a:pPr marL="460375" lvl="1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ablish and promote best practices </a:t>
            </a:r>
          </a:p>
          <a:p>
            <a:pPr marL="460375" lvl="1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able efficient, transparent, and predictable product review with consistent evaluation quality </a:t>
            </a:r>
          </a:p>
          <a:p>
            <a:pPr marL="460375" lvl="1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ild new capacity to oversee and leverage DH technologies</a:t>
            </a:r>
          </a:p>
          <a:p>
            <a:pPr marL="460375" lvl="1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e more shared resources</a:t>
            </a:r>
          </a:p>
          <a:p>
            <a:pPr marL="460375" lvl="1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ordinate the development of cross cutting DH policies</a:t>
            </a:r>
          </a:p>
        </p:txBody>
      </p:sp>
    </p:spTree>
    <p:extLst>
      <p:ext uri="{BB962C8B-B14F-4D97-AF65-F5344CB8AC3E}">
        <p14:creationId xmlns:p14="http://schemas.microsoft.com/office/powerpoint/2010/main" val="3122701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8F0C4D24-DFC3-4BC1-B8B9-25AAEE405F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1076118"/>
              </p:ext>
            </p:extLst>
          </p:nvPr>
        </p:nvGraphicFramePr>
        <p:xfrm>
          <a:off x="92643" y="1872219"/>
          <a:ext cx="11786534" cy="4824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D3630198-8710-B24F-81CD-4698A1C982EA}"/>
              </a:ext>
            </a:extLst>
          </p:cNvPr>
          <p:cNvSpPr txBox="1"/>
          <p:nvPr/>
        </p:nvSpPr>
        <p:spPr>
          <a:xfrm>
            <a:off x="709747" y="949536"/>
            <a:ext cx="6829898" cy="5243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llowing is our initial roadmap for bringing the benefits of digital health to all Americans, efficiently and collaboratively: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8AF2418-28CF-4AB4-B821-91B322F4BAB5}"/>
              </a:ext>
            </a:extLst>
          </p:cNvPr>
          <p:cNvSpPr/>
          <p:nvPr/>
        </p:nvSpPr>
        <p:spPr>
          <a:xfrm>
            <a:off x="393826" y="2990911"/>
            <a:ext cx="2586223" cy="61685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aise Awareness and Engage Stakehold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1C6BBC-ED44-4F9E-89EC-CC6BE056F96E}"/>
              </a:ext>
            </a:extLst>
          </p:cNvPr>
          <p:cNvSpPr/>
          <p:nvPr/>
        </p:nvSpPr>
        <p:spPr>
          <a:xfrm>
            <a:off x="4223210" y="2071678"/>
            <a:ext cx="2586223" cy="61685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 Partnership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51E652-DA01-4A1B-A0A5-C0FB9216C202}"/>
              </a:ext>
            </a:extLst>
          </p:cNvPr>
          <p:cNvSpPr/>
          <p:nvPr/>
        </p:nvSpPr>
        <p:spPr>
          <a:xfrm>
            <a:off x="8049043" y="1152086"/>
            <a:ext cx="2586223" cy="61685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 and Sustain Capacit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D9313A-D85C-4BCD-8B74-AC6109B72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dirty="0">
                <a:solidFill>
                  <a:srgbClr val="3A96DD"/>
                </a:solidFill>
                <a:latin typeface="Segoe UI" panose="020B0502040204020203" pitchFamily="34" charset="0"/>
                <a:ea typeface="Segoe UI Semibold" panose="020B0502040204020203" pitchFamily="34" charset="0"/>
                <a:cs typeface="Segoe UI" panose="020B0502040204020203" pitchFamily="34" charset="0"/>
              </a:rPr>
              <a:t>DHCoE Road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738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37CAB9E-2AF5-4A21-B51E-3050CDBB519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482" y="1340448"/>
            <a:ext cx="3686839" cy="4771205"/>
          </a:xfrm>
          <a:ln>
            <a:solidFill>
              <a:schemeClr val="accent1"/>
            </a:solidFill>
          </a:ln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DE12920-CA5C-48FE-B42E-FB82898AC2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46732" y="1302348"/>
            <a:ext cx="5964144" cy="2690468"/>
          </a:xfrm>
        </p:spPr>
        <p:txBody>
          <a:bodyPr anchor="ctr">
            <a:norm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2200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nce publishing in April 2019 FDA’s </a:t>
            </a:r>
            <a:r>
              <a:rPr lang="en-US" sz="2200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Proposed Regulatory Framework for Modifications to AI/ML-Based </a:t>
            </a:r>
            <a:r>
              <a:rPr lang="en-US" sz="2200" b="1" dirty="0" err="1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MD</a:t>
            </a:r>
            <a:r>
              <a:rPr lang="en-US" sz="2200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       we’ve received stakeholder feedback through: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 sz="2200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73DB1959-8C5E-45E6-A3BB-4A7B0633C9E2}"/>
              </a:ext>
            </a:extLst>
          </p:cNvPr>
          <p:cNvSpPr txBox="1">
            <a:spLocks/>
          </p:cNvSpPr>
          <p:nvPr/>
        </p:nvSpPr>
        <p:spPr>
          <a:xfrm>
            <a:off x="4994995" y="3421185"/>
            <a:ext cx="6532787" cy="26904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8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 1,000 comments on public docket from a diverse community of stakeholders</a:t>
            </a:r>
          </a:p>
          <a:p>
            <a:pPr marL="342900" marR="0" lvl="0" indent="-342900" algn="l" defTabSz="457200" rtl="0" eaLnBrk="1" fontAlgn="auto" latinLnBrk="0" hangingPunct="1">
              <a:lnSpc>
                <a:spcPct val="8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 30 publications in peer-reviewed journals</a:t>
            </a:r>
          </a:p>
          <a:p>
            <a:pPr marL="342900" marR="0" lvl="0" indent="-342900" algn="l" defTabSz="457200" rtl="0" eaLnBrk="1" fontAlgn="auto" latinLnBrk="0" hangingPunct="1">
              <a:lnSpc>
                <a:spcPct val="8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-submission meetings on AI/ML devices</a:t>
            </a:r>
          </a:p>
          <a:p>
            <a:pPr marL="342900" marR="0" lvl="0" indent="-342900" algn="l" defTabSz="457200" rtl="0" eaLnBrk="1" fontAlgn="auto" latinLnBrk="0" hangingPunct="1">
              <a:lnSpc>
                <a:spcPct val="8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 Engagement Advisory Committee Mtg (PEAC)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B252489-7C60-404B-A881-E15005383FCF}"/>
              </a:ext>
            </a:extLst>
          </p:cNvPr>
          <p:cNvSpPr txBox="1">
            <a:spLocks/>
          </p:cNvSpPr>
          <p:nvPr/>
        </p:nvSpPr>
        <p:spPr>
          <a:xfrm>
            <a:off x="311012" y="237228"/>
            <a:ext cx="11096331" cy="76899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3A96DD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Stakeholder Feedback on AI/ML Approach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615624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5FE77980-082C-4858-B5BD-1839A1000521}"/>
              </a:ext>
            </a:extLst>
          </p:cNvPr>
          <p:cNvSpPr txBox="1">
            <a:spLocks/>
          </p:cNvSpPr>
          <p:nvPr/>
        </p:nvSpPr>
        <p:spPr>
          <a:xfrm>
            <a:off x="311012" y="237228"/>
            <a:ext cx="11096331" cy="76899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>
                <a:ln>
                  <a:noFill/>
                </a:ln>
                <a:solidFill>
                  <a:srgbClr val="3A96DD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Stakeholder Feedback on AI/ML Approac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1AC973-C5E7-4AB3-B9A8-B6D17FF98239}"/>
              </a:ext>
            </a:extLst>
          </p:cNvPr>
          <p:cNvSpPr txBox="1"/>
          <p:nvPr/>
        </p:nvSpPr>
        <p:spPr>
          <a:xfrm>
            <a:off x="420163" y="1482022"/>
            <a:ext cx="4994732" cy="987835"/>
          </a:xfrm>
          <a:prstGeom prst="rect">
            <a:avLst/>
          </a:prstGeom>
          <a:solidFill>
            <a:schemeClr val="accent6">
              <a:lumMod val="40000"/>
              <a:lumOff val="60000"/>
              <a:alpha val="27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4B899F2-6B1E-4AA1-B8FE-F902226A98F3}"/>
              </a:ext>
            </a:extLst>
          </p:cNvPr>
          <p:cNvSpPr txBox="1"/>
          <p:nvPr/>
        </p:nvSpPr>
        <p:spPr>
          <a:xfrm>
            <a:off x="450846" y="2469857"/>
            <a:ext cx="4983849" cy="959112"/>
          </a:xfrm>
          <a:prstGeom prst="rect">
            <a:avLst/>
          </a:prstGeom>
          <a:solidFill>
            <a:schemeClr val="bg2">
              <a:lumMod val="75000"/>
              <a:alpha val="27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210E7FF-21CE-4C7C-A9F9-2E0EAD7FABA8}"/>
              </a:ext>
            </a:extLst>
          </p:cNvPr>
          <p:cNvSpPr txBox="1"/>
          <p:nvPr/>
        </p:nvSpPr>
        <p:spPr>
          <a:xfrm>
            <a:off x="450846" y="3437877"/>
            <a:ext cx="4994733" cy="1002433"/>
          </a:xfrm>
          <a:prstGeom prst="rect">
            <a:avLst/>
          </a:prstGeom>
          <a:solidFill>
            <a:schemeClr val="accent3">
              <a:lumMod val="40000"/>
              <a:lumOff val="60000"/>
              <a:alpha val="27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8B880E-4F0F-4A5B-96FB-FE2577FED1A5}"/>
              </a:ext>
            </a:extLst>
          </p:cNvPr>
          <p:cNvSpPr txBox="1"/>
          <p:nvPr/>
        </p:nvSpPr>
        <p:spPr>
          <a:xfrm>
            <a:off x="450846" y="4455565"/>
            <a:ext cx="4994732" cy="920402"/>
          </a:xfrm>
          <a:prstGeom prst="rect">
            <a:avLst/>
          </a:prstGeom>
          <a:solidFill>
            <a:schemeClr val="accent2">
              <a:lumMod val="40000"/>
              <a:lumOff val="60000"/>
              <a:alpha val="27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E2CB67D-163C-4CFE-8488-D88306B5FE85}"/>
              </a:ext>
            </a:extLst>
          </p:cNvPr>
          <p:cNvSpPr txBox="1"/>
          <p:nvPr/>
        </p:nvSpPr>
        <p:spPr>
          <a:xfrm>
            <a:off x="450846" y="5391222"/>
            <a:ext cx="4994732" cy="804420"/>
          </a:xfrm>
          <a:prstGeom prst="rect">
            <a:avLst/>
          </a:prstGeom>
          <a:solidFill>
            <a:schemeClr val="accent1">
              <a:lumMod val="40000"/>
              <a:lumOff val="60000"/>
              <a:alpha val="27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0885EE-4243-4113-AB80-2B0D04CDE469}"/>
              </a:ext>
            </a:extLst>
          </p:cNvPr>
          <p:cNvSpPr txBox="1"/>
          <p:nvPr/>
        </p:nvSpPr>
        <p:spPr>
          <a:xfrm>
            <a:off x="450848" y="1108421"/>
            <a:ext cx="4875232" cy="5124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we heard from stakehold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sng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ulatory Framework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Requested further development of proposed regulatory framework for AI/ML-based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D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ood Machine Learning Practices (GMLP)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Supported the idea of GMLP and the need for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harmonization of its effor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  </a:t>
            </a: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parency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Asked for further discussion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with FDA on how these technologies intera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with people, including transparency to user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4"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ulatory Scienc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Described need for improved methods related to algorithmic bias and robustnes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5"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l-World Performance (RWP)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Sought clarity on RWP monitoring for AI/ML software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42778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4384E89-677D-46CE-88A5-69CD7338DDFA}"/>
              </a:ext>
            </a:extLst>
          </p:cNvPr>
          <p:cNvSpPr/>
          <p:nvPr/>
        </p:nvSpPr>
        <p:spPr>
          <a:xfrm>
            <a:off x="6037596" y="1014264"/>
            <a:ext cx="5547945" cy="5222314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3BB8E66-0303-4760-8BAF-2BF2D578A211}"/>
              </a:ext>
            </a:extLst>
          </p:cNvPr>
          <p:cNvCxnSpPr>
            <a:cxnSpLocks/>
          </p:cNvCxnSpPr>
          <p:nvPr/>
        </p:nvCxnSpPr>
        <p:spPr>
          <a:xfrm>
            <a:off x="5110843" y="5563400"/>
            <a:ext cx="926754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34F87A3-F0AC-44BF-BF85-92CFEF291668}"/>
              </a:ext>
            </a:extLst>
          </p:cNvPr>
          <p:cNvCxnSpPr>
            <a:cxnSpLocks/>
          </p:cNvCxnSpPr>
          <p:nvPr/>
        </p:nvCxnSpPr>
        <p:spPr>
          <a:xfrm>
            <a:off x="5110843" y="4605846"/>
            <a:ext cx="926754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0183F5E-7663-4BA6-8EF6-503755E326BD}"/>
              </a:ext>
            </a:extLst>
          </p:cNvPr>
          <p:cNvCxnSpPr>
            <a:cxnSpLocks/>
          </p:cNvCxnSpPr>
          <p:nvPr/>
        </p:nvCxnSpPr>
        <p:spPr>
          <a:xfrm>
            <a:off x="5110843" y="3700181"/>
            <a:ext cx="926754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B2EB496-5C7E-40FA-9EB4-73A53DC26017}"/>
              </a:ext>
            </a:extLst>
          </p:cNvPr>
          <p:cNvCxnSpPr>
            <a:cxnSpLocks/>
          </p:cNvCxnSpPr>
          <p:nvPr/>
        </p:nvCxnSpPr>
        <p:spPr>
          <a:xfrm>
            <a:off x="5110843" y="2688379"/>
            <a:ext cx="913088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A0CC5D1-9BE7-430F-B32D-7C6124BD6ACC}"/>
              </a:ext>
            </a:extLst>
          </p:cNvPr>
          <p:cNvCxnSpPr>
            <a:cxnSpLocks/>
          </p:cNvCxnSpPr>
          <p:nvPr/>
        </p:nvCxnSpPr>
        <p:spPr>
          <a:xfrm>
            <a:off x="5110843" y="1700544"/>
            <a:ext cx="926754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5FE77980-082C-4858-B5BD-1839A1000521}"/>
              </a:ext>
            </a:extLst>
          </p:cNvPr>
          <p:cNvSpPr txBox="1">
            <a:spLocks/>
          </p:cNvSpPr>
          <p:nvPr/>
        </p:nvSpPr>
        <p:spPr>
          <a:xfrm>
            <a:off x="311012" y="237228"/>
            <a:ext cx="11096331" cy="76899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3A96DD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Stakeholder Feedback on AI/ML Approac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E57E6E-B334-4242-B336-3C38EF4F6FCC}"/>
              </a:ext>
            </a:extLst>
          </p:cNvPr>
          <p:cNvSpPr txBox="1"/>
          <p:nvPr/>
        </p:nvSpPr>
        <p:spPr>
          <a:xfrm>
            <a:off x="433610" y="1482022"/>
            <a:ext cx="4994732" cy="987835"/>
          </a:xfrm>
          <a:prstGeom prst="rect">
            <a:avLst/>
          </a:prstGeom>
          <a:solidFill>
            <a:schemeClr val="accent6">
              <a:lumMod val="40000"/>
              <a:lumOff val="60000"/>
              <a:alpha val="5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6F573DC-EF47-46A7-831C-697EF26C3463}"/>
              </a:ext>
            </a:extLst>
          </p:cNvPr>
          <p:cNvSpPr txBox="1"/>
          <p:nvPr/>
        </p:nvSpPr>
        <p:spPr>
          <a:xfrm>
            <a:off x="450846" y="2469857"/>
            <a:ext cx="4983849" cy="959112"/>
          </a:xfrm>
          <a:prstGeom prst="rect">
            <a:avLst/>
          </a:prstGeom>
          <a:solidFill>
            <a:schemeClr val="bg2">
              <a:lumMod val="75000"/>
              <a:alpha val="5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8178B1F-EBF8-42CD-A300-E7BB98D19589}"/>
              </a:ext>
            </a:extLst>
          </p:cNvPr>
          <p:cNvSpPr txBox="1"/>
          <p:nvPr/>
        </p:nvSpPr>
        <p:spPr>
          <a:xfrm>
            <a:off x="450846" y="3437877"/>
            <a:ext cx="4994733" cy="1002433"/>
          </a:xfrm>
          <a:prstGeom prst="rect">
            <a:avLst/>
          </a:prstGeom>
          <a:solidFill>
            <a:schemeClr val="accent3">
              <a:lumMod val="40000"/>
              <a:lumOff val="60000"/>
              <a:alpha val="5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3D07351-E6B4-422C-A398-92C031D1522F}"/>
              </a:ext>
            </a:extLst>
          </p:cNvPr>
          <p:cNvSpPr txBox="1"/>
          <p:nvPr/>
        </p:nvSpPr>
        <p:spPr>
          <a:xfrm>
            <a:off x="450846" y="4455565"/>
            <a:ext cx="4994732" cy="920402"/>
          </a:xfrm>
          <a:prstGeom prst="rect">
            <a:avLst/>
          </a:prstGeom>
          <a:solidFill>
            <a:schemeClr val="accent2">
              <a:lumMod val="40000"/>
              <a:lumOff val="60000"/>
              <a:alpha val="5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0F8062A-3DFC-4949-B3DB-02252DE38BAE}"/>
              </a:ext>
            </a:extLst>
          </p:cNvPr>
          <p:cNvSpPr txBox="1"/>
          <p:nvPr/>
        </p:nvSpPr>
        <p:spPr>
          <a:xfrm>
            <a:off x="450846" y="5391222"/>
            <a:ext cx="4994732" cy="804420"/>
          </a:xfrm>
          <a:prstGeom prst="rect">
            <a:avLst/>
          </a:prstGeom>
          <a:solidFill>
            <a:schemeClr val="accent1">
              <a:lumMod val="40000"/>
              <a:lumOff val="60000"/>
              <a:alpha val="5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187C525-3DA4-41A0-9BF1-B7FE25595F72}"/>
              </a:ext>
            </a:extLst>
          </p:cNvPr>
          <p:cNvSpPr txBox="1"/>
          <p:nvPr/>
        </p:nvSpPr>
        <p:spPr>
          <a:xfrm>
            <a:off x="6057899" y="1474768"/>
            <a:ext cx="5527642" cy="987835"/>
          </a:xfrm>
          <a:prstGeom prst="rect">
            <a:avLst/>
          </a:prstGeom>
          <a:solidFill>
            <a:schemeClr val="accent6">
              <a:lumMod val="40000"/>
              <a:lumOff val="60000"/>
              <a:alpha val="24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F7C55E-B5BD-4591-8B76-B32496E7AF68}"/>
              </a:ext>
            </a:extLst>
          </p:cNvPr>
          <p:cNvSpPr txBox="1"/>
          <p:nvPr/>
        </p:nvSpPr>
        <p:spPr>
          <a:xfrm>
            <a:off x="6075135" y="2462603"/>
            <a:ext cx="5510406" cy="959112"/>
          </a:xfrm>
          <a:prstGeom prst="rect">
            <a:avLst/>
          </a:prstGeom>
          <a:solidFill>
            <a:schemeClr val="bg2">
              <a:lumMod val="75000"/>
              <a:alpha val="24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FA6B529-21DF-463F-87C6-42722B07C7D4}"/>
              </a:ext>
            </a:extLst>
          </p:cNvPr>
          <p:cNvSpPr txBox="1"/>
          <p:nvPr/>
        </p:nvSpPr>
        <p:spPr>
          <a:xfrm>
            <a:off x="6075135" y="3430623"/>
            <a:ext cx="5510406" cy="1002433"/>
          </a:xfrm>
          <a:prstGeom prst="rect">
            <a:avLst/>
          </a:prstGeom>
          <a:solidFill>
            <a:schemeClr val="accent3">
              <a:lumMod val="40000"/>
              <a:lumOff val="60000"/>
              <a:alpha val="24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E981646-93AC-4467-9B14-D0F7CD9C06CC}"/>
              </a:ext>
            </a:extLst>
          </p:cNvPr>
          <p:cNvSpPr txBox="1"/>
          <p:nvPr/>
        </p:nvSpPr>
        <p:spPr>
          <a:xfrm>
            <a:off x="6075135" y="4448311"/>
            <a:ext cx="5510406" cy="920402"/>
          </a:xfrm>
          <a:prstGeom prst="rect">
            <a:avLst/>
          </a:prstGeom>
          <a:solidFill>
            <a:schemeClr val="accent2">
              <a:lumMod val="40000"/>
              <a:lumOff val="60000"/>
              <a:alpha val="24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119609A-CBFD-4E59-BE9B-468023993568}"/>
              </a:ext>
            </a:extLst>
          </p:cNvPr>
          <p:cNvSpPr txBox="1"/>
          <p:nvPr/>
        </p:nvSpPr>
        <p:spPr>
          <a:xfrm>
            <a:off x="6075135" y="5383968"/>
            <a:ext cx="5510406" cy="804420"/>
          </a:xfrm>
          <a:prstGeom prst="rect">
            <a:avLst/>
          </a:prstGeom>
          <a:solidFill>
            <a:schemeClr val="accent1">
              <a:lumMod val="40000"/>
              <a:lumOff val="60000"/>
              <a:alpha val="24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E1E0584-D1A7-4D6A-8AB9-4DFD37C561DB}"/>
              </a:ext>
            </a:extLst>
          </p:cNvPr>
          <p:cNvSpPr txBox="1"/>
          <p:nvPr/>
        </p:nvSpPr>
        <p:spPr>
          <a:xfrm>
            <a:off x="450848" y="1108421"/>
            <a:ext cx="4875232" cy="5124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70C0">
                    <a:alpha val="31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we heard from stakehold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sng" strike="noStrike" kern="1200" cap="none" spc="0" normalizeH="0" baseline="0" noProof="0" dirty="0">
              <a:ln>
                <a:noFill/>
              </a:ln>
              <a:solidFill>
                <a:srgbClr val="0070C0">
                  <a:alpha val="31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ulatory Framework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Requested further development of proposed regulatory framework for AI/ML-based SaM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31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ood Machine Learning Practices (GMLP)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Supported the idea of GMLP and the need for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harmonization of its effor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31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 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parenc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Asked for further discussion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with FDA on how these technologies intera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with people, including transparency to user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31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31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4"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ulatory Scienc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Described need for improved methods related to algorithmic bias and robustnes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31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5"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l-World Performance (RWP)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31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Sought clarity on RWP monitoring for AI/ML software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31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6975AB-B74F-46FD-B4D2-64792327FD9F}"/>
              </a:ext>
            </a:extLst>
          </p:cNvPr>
          <p:cNvSpPr txBox="1"/>
          <p:nvPr/>
        </p:nvSpPr>
        <p:spPr>
          <a:xfrm>
            <a:off x="6070255" y="1071076"/>
            <a:ext cx="5618982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we’ll do -- The AI/ML Action Pla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sng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pdate the proposed AI/ML framework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including through Guidanc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engthen FDA’s role in harmonizing GMLP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through standards development &amp; other initiativ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3"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ster a patient-centered approach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starting with a workshop on transparency to use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.   </a:t>
            </a: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development of regulatory science methods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related to algorithm bias and robustnes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5"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vance real-world performance pilo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coordination with stakeholders and other program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53777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6BDBA-3A45-41E4-A4CC-CF6502390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0942"/>
          </a:xfrm>
        </p:spPr>
        <p:txBody>
          <a:bodyPr>
            <a:normAutofit fontScale="90000"/>
          </a:bodyPr>
          <a:lstStyle/>
          <a:p>
            <a:r>
              <a:rPr lang="en-US" dirty="0"/>
              <a:t>Further Questions or Feedbac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E100FB-9F41-415C-ADDC-02E860CBE4A6}"/>
              </a:ext>
            </a:extLst>
          </p:cNvPr>
          <p:cNvSpPr txBox="1"/>
          <p:nvPr/>
        </p:nvSpPr>
        <p:spPr>
          <a:xfrm>
            <a:off x="3023290" y="2364307"/>
            <a:ext cx="573176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70C0"/>
                </a:solidFill>
                <a:hlinkClick r:id="rId3"/>
              </a:rPr>
              <a:t>DigitalHealth@fda.hhs.gov</a:t>
            </a:r>
            <a:endParaRPr lang="en-US" sz="2400" b="1" dirty="0">
              <a:solidFill>
                <a:srgbClr val="0070C0"/>
              </a:solidFill>
            </a:endParaRPr>
          </a:p>
          <a:p>
            <a:pPr algn="ctr"/>
            <a:r>
              <a:rPr lang="en-US" sz="2400" b="1" dirty="0">
                <a:solidFill>
                  <a:srgbClr val="0070C0"/>
                </a:solidFill>
              </a:rPr>
              <a:t>Bakul Patel, </a:t>
            </a:r>
            <a:r>
              <a:rPr lang="en-US" sz="2400" b="1" i="1" dirty="0"/>
              <a:t>(Bakul.Patel@fda.hhs.gov)</a:t>
            </a:r>
          </a:p>
          <a:p>
            <a:pPr algn="ctr"/>
            <a:r>
              <a:rPr lang="en-US" sz="2400" b="1" dirty="0">
                <a:solidFill>
                  <a:srgbClr val="0070C0"/>
                </a:solidFill>
              </a:rPr>
              <a:t>Director, Digital Health Center of Excellence</a:t>
            </a:r>
            <a:endParaRPr lang="en-US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B57865-D4F1-4ECC-88CE-23CCFF5BE6E1}"/>
              </a:ext>
            </a:extLst>
          </p:cNvPr>
          <p:cNvSpPr txBox="1"/>
          <p:nvPr/>
        </p:nvSpPr>
        <p:spPr>
          <a:xfrm>
            <a:off x="4074507" y="1213278"/>
            <a:ext cx="36293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www.fda.gov/digitalhealth</a:t>
            </a:r>
          </a:p>
        </p:txBody>
      </p:sp>
    </p:spTree>
    <p:extLst>
      <p:ext uri="{BB962C8B-B14F-4D97-AF65-F5344CB8AC3E}">
        <p14:creationId xmlns:p14="http://schemas.microsoft.com/office/powerpoint/2010/main" val="2342337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F096F-0433-4145-A689-4BF30B713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054" y="100080"/>
            <a:ext cx="10759087" cy="822960"/>
          </a:xfrm>
        </p:spPr>
        <p:txBody>
          <a:bodyPr>
            <a:normAutofit/>
          </a:bodyPr>
          <a:lstStyle/>
          <a:p>
            <a:pPr algn="l"/>
            <a:r>
              <a:rPr lang="en-US" sz="4000" dirty="0">
                <a:solidFill>
                  <a:srgbClr val="3A96D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ital Health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E88D587-B36A-4862-9EFC-1FC13ACE6F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5124" y="1001628"/>
            <a:ext cx="10381751" cy="778940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 anchorCtr="0">
            <a:normAutofit lnSpcReduction="10000"/>
          </a:bodyPr>
          <a:lstStyle/>
          <a:p>
            <a:pPr marL="0" indent="0" algn="ctr">
              <a:buNone/>
            </a:pPr>
            <a:r>
              <a:rPr lang="en-US" sz="1800" i="1" dirty="0">
                <a:solidFill>
                  <a:schemeClr val="bg1"/>
                </a:solidFill>
                <a:latin typeface="Arial Black"/>
                <a:ea typeface="+mj-ea"/>
              </a:rPr>
              <a:t>The convergence of connectivity, data and computing power for healthcare and related uses across the life of an individual or a patient</a:t>
            </a:r>
            <a:r>
              <a:rPr lang="en-US" sz="2400" i="1" dirty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rPr>
              <a:t>.</a:t>
            </a: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oup 16" descr="A person riding a bike and a person walking in front of a house. Transitions to two healthcare officials standing in front of a hospital. Which transitions to two more healthcare officials standing in front of a rehabilitation center, and the last transition is to a person in a wheelchair and a person standing with a cane in front of a nursing home.">
            <a:extLst>
              <a:ext uri="{FF2B5EF4-FFF2-40B4-BE49-F238E27FC236}">
                <a16:creationId xmlns:a16="http://schemas.microsoft.com/office/drawing/2014/main" id="{73DA903C-2D8F-429A-B0BC-87C39E009AF2}"/>
              </a:ext>
            </a:extLst>
          </p:cNvPr>
          <p:cNvGrpSpPr/>
          <p:nvPr/>
        </p:nvGrpSpPr>
        <p:grpSpPr>
          <a:xfrm>
            <a:off x="981891" y="1731622"/>
            <a:ext cx="10381751" cy="2715384"/>
            <a:chOff x="228600" y="2238375"/>
            <a:chExt cx="8760000" cy="26257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F341905-879B-4737-B5D9-2DEDDBA919EB}"/>
                </a:ext>
              </a:extLst>
            </p:cNvPr>
            <p:cNvGrpSpPr/>
            <p:nvPr/>
          </p:nvGrpSpPr>
          <p:grpSpPr>
            <a:xfrm>
              <a:off x="326080" y="2378868"/>
              <a:ext cx="8440220" cy="2421732"/>
              <a:chOff x="457200" y="2044064"/>
              <a:chExt cx="8440220" cy="2421732"/>
            </a:xfrm>
          </p:grpSpPr>
          <p:pic>
            <p:nvPicPr>
              <p:cNvPr id="20" name="Picture 4" descr="Binary, One, Null, Pay, Numbering System">
                <a:extLst>
                  <a:ext uri="{FF2B5EF4-FFF2-40B4-BE49-F238E27FC236}">
                    <a16:creationId xmlns:a16="http://schemas.microsoft.com/office/drawing/2014/main" id="{F5EE71B2-25B2-4082-96EA-9D28DD50C4C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harpenSoften amount="-7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7200" y="2044064"/>
                <a:ext cx="3429000" cy="2421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 descr="Binary, One, Null, Pay, Numbering System">
                <a:extLst>
                  <a:ext uri="{FF2B5EF4-FFF2-40B4-BE49-F238E27FC236}">
                    <a16:creationId xmlns:a16="http://schemas.microsoft.com/office/drawing/2014/main" id="{F6D8ED1F-D0A3-43A6-AD93-7F040214AE3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harpenSoften amount="-7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86200" y="2044064"/>
                <a:ext cx="3429000" cy="24217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2" name="Picture 4" descr="Binary, One, Null, Pay, Numbering System">
                <a:extLst>
                  <a:ext uri="{FF2B5EF4-FFF2-40B4-BE49-F238E27FC236}">
                    <a16:creationId xmlns:a16="http://schemas.microsoft.com/office/drawing/2014/main" id="{1EEFCB54-B5CF-4755-9F17-E4AABB5017B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screen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sharpenSoften amount="-7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315200" y="2044064"/>
                <a:ext cx="1582220" cy="24217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9" name="Picture 2" descr="Image result for digital care continuum">
              <a:extLst>
                <a:ext uri="{FF2B5EF4-FFF2-40B4-BE49-F238E27FC236}">
                  <a16:creationId xmlns:a16="http://schemas.microsoft.com/office/drawing/2014/main" id="{6A1B0EE9-3A0D-41E3-8E6B-F92C6AED006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24474"/>
            <a:stretch/>
          </p:blipFill>
          <p:spPr bwMode="auto">
            <a:xfrm>
              <a:off x="228600" y="2238375"/>
              <a:ext cx="8760000" cy="2625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ounded Rectangle 20">
            <a:extLst>
              <a:ext uri="{FF2B5EF4-FFF2-40B4-BE49-F238E27FC236}">
                <a16:creationId xmlns:a16="http://schemas.microsoft.com/office/drawing/2014/main" id="{146A5983-5BFD-4FE1-B84F-935F8AA7E6FF}"/>
              </a:ext>
            </a:extLst>
          </p:cNvPr>
          <p:cNvSpPr/>
          <p:nvPr/>
        </p:nvSpPr>
        <p:spPr>
          <a:xfrm>
            <a:off x="927778" y="5848257"/>
            <a:ext cx="10336442" cy="433064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Leveraging  computing power,  sensors,  connectivity and software</a:t>
            </a:r>
          </a:p>
        </p:txBody>
      </p:sp>
      <p:sp>
        <p:nvSpPr>
          <p:cNvPr id="24" name="Rounded Rectangle 21">
            <a:extLst>
              <a:ext uri="{FF2B5EF4-FFF2-40B4-BE49-F238E27FC236}">
                <a16:creationId xmlns:a16="http://schemas.microsoft.com/office/drawing/2014/main" id="{75DFA3A5-80AC-4163-B8E7-D052BCD98291}"/>
              </a:ext>
            </a:extLst>
          </p:cNvPr>
          <p:cNvSpPr/>
          <p:nvPr/>
        </p:nvSpPr>
        <p:spPr>
          <a:xfrm>
            <a:off x="1091812" y="4985588"/>
            <a:ext cx="3108960" cy="73152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2880" rIns="18288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ving health care from the Clinic to the </a:t>
            </a:r>
            <a:b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</a:t>
            </a:r>
          </a:p>
        </p:txBody>
      </p:sp>
      <p:sp>
        <p:nvSpPr>
          <p:cNvPr id="25" name="Rounded Rectangle 22">
            <a:extLst>
              <a:ext uri="{FF2B5EF4-FFF2-40B4-BE49-F238E27FC236}">
                <a16:creationId xmlns:a16="http://schemas.microsoft.com/office/drawing/2014/main" id="{C3F1482A-121D-4C89-AE88-1AAE0E16B359}"/>
              </a:ext>
            </a:extLst>
          </p:cNvPr>
          <p:cNvSpPr/>
          <p:nvPr/>
        </p:nvSpPr>
        <p:spPr>
          <a:xfrm>
            <a:off x="4541520" y="4967442"/>
            <a:ext cx="3108960" cy="731520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82880" rIns="18288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derstanding patient’s behavior and physiology </a:t>
            </a:r>
            <a:b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“</a:t>
            </a:r>
            <a:r>
              <a:rPr kumimoji="0" lang="en-US" sz="1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 the wild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”</a:t>
            </a:r>
          </a:p>
        </p:txBody>
      </p:sp>
      <p:sp>
        <p:nvSpPr>
          <p:cNvPr id="26" name="Rounded Rectangle 23">
            <a:extLst>
              <a:ext uri="{FF2B5EF4-FFF2-40B4-BE49-F238E27FC236}">
                <a16:creationId xmlns:a16="http://schemas.microsoft.com/office/drawing/2014/main" id="{CD2E929A-0A61-4EFA-9EBE-F91E9A411A53}"/>
              </a:ext>
            </a:extLst>
          </p:cNvPr>
          <p:cNvSpPr/>
          <p:nvPr/>
        </p:nvSpPr>
        <p:spPr>
          <a:xfrm>
            <a:off x="7991228" y="4967442"/>
            <a:ext cx="3108960" cy="731520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82880" rIns="18288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cusing on prevention for early/smaller </a:t>
            </a:r>
            <a:b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rvention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5A43F62-89BD-4626-8397-1F57BBE4C048}"/>
              </a:ext>
            </a:extLst>
          </p:cNvPr>
          <p:cNvSpPr/>
          <p:nvPr/>
        </p:nvSpPr>
        <p:spPr>
          <a:xfrm>
            <a:off x="1091812" y="4459337"/>
            <a:ext cx="9997164" cy="442384"/>
          </a:xfrm>
          <a:prstGeom prst="roundRect">
            <a:avLst/>
          </a:prstGeom>
          <a:solidFill>
            <a:srgbClr val="67BFF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Healthy living	Prevention	Diagnosis		Treatment	Recovery		Home care</a:t>
            </a:r>
          </a:p>
        </p:txBody>
      </p:sp>
    </p:spTree>
    <p:extLst>
      <p:ext uri="{BB962C8B-B14F-4D97-AF65-F5344CB8AC3E}">
        <p14:creationId xmlns:p14="http://schemas.microsoft.com/office/powerpoint/2010/main" val="42915624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>
            <a:extLst>
              <a:ext uri="{FF2B5EF4-FFF2-40B4-BE49-F238E27FC236}">
                <a16:creationId xmlns:a16="http://schemas.microsoft.com/office/drawing/2014/main" id="{F8E6FA1A-1DA3-C947-9556-EE2C76000E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9274" y="1634661"/>
            <a:ext cx="12192001" cy="4572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3D898F-42DF-4F90-94D2-C7FA7C861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186" y="-74018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3A96D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ital Health Technolo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F1E083-E4EC-43F4-BF72-EE5AAE9CF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0794" y="1634661"/>
            <a:ext cx="5616102" cy="3715350"/>
          </a:xfrm>
          <a:noFill/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4000" dirty="0">
                <a:solidFill>
                  <a:srgbClr val="B7E7FF"/>
                </a:solidFill>
              </a:rPr>
              <a:t>Convergence of computing power, connectivity, sensors, </a:t>
            </a:r>
            <a:br>
              <a:rPr lang="en-US" sz="4000" dirty="0">
                <a:solidFill>
                  <a:srgbClr val="B7E7FF"/>
                </a:solidFill>
              </a:rPr>
            </a:br>
            <a:r>
              <a:rPr lang="en-US" sz="4000" dirty="0">
                <a:solidFill>
                  <a:srgbClr val="B7E7FF"/>
                </a:solidFill>
              </a:rPr>
              <a:t>and software used in healthcare</a:t>
            </a:r>
            <a:r>
              <a:rPr lang="en-US" dirty="0">
                <a:solidFill>
                  <a:srgbClr val="B7E7FF"/>
                </a:solidFill>
              </a:rPr>
              <a:t>. 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BAB0C23-B11F-4FC3-AD84-6253E8A824C2}"/>
              </a:ext>
            </a:extLst>
          </p:cNvPr>
          <p:cNvSpPr txBox="1">
            <a:spLocks/>
          </p:cNvSpPr>
          <p:nvPr/>
        </p:nvSpPr>
        <p:spPr>
          <a:xfrm>
            <a:off x="5196748" y="2060775"/>
            <a:ext cx="6575899" cy="3715350"/>
          </a:xfrm>
          <a:prstGeom prst="rect">
            <a:avLst/>
          </a:prstGeom>
          <a:solidFill>
            <a:schemeClr val="tx2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lIns="182880" tIns="182880" rIns="182880" bIns="182880" rtlCol="0" anchor="ctr" anchorCtr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282575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Calibri" panose="020F0502020204030204" pitchFamily="34" charset="0"/>
              <a:buChar char="→"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610432924"/>
              </p:ext>
            </p:extLst>
          </p:nvPr>
        </p:nvGraphicFramePr>
        <p:xfrm>
          <a:off x="3874447" y="2147548"/>
          <a:ext cx="9220499" cy="3513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CE3479-42EE-4F1E-AAE9-5A658E851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31C20-F7A4-6949-92AB-1CD413AE5F4B}" type="slidenum">
              <a:rPr lang="en-US" smtClean="0"/>
              <a:t>3</a:t>
            </a:fld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E86B1DB-404F-4868-8DCA-69D97DF94A37}"/>
              </a:ext>
            </a:extLst>
          </p:cNvPr>
          <p:cNvSpPr/>
          <p:nvPr/>
        </p:nvSpPr>
        <p:spPr>
          <a:xfrm>
            <a:off x="190794" y="1065605"/>
            <a:ext cx="11905179" cy="442384"/>
          </a:xfrm>
          <a:prstGeom prst="roundRect">
            <a:avLst/>
          </a:prstGeom>
          <a:solidFill>
            <a:srgbClr val="67BFF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Healthy living	Prevention	Diagnosis		Treatment	Recovery		Home care		Management</a:t>
            </a:r>
          </a:p>
        </p:txBody>
      </p:sp>
    </p:spTree>
    <p:extLst>
      <p:ext uri="{BB962C8B-B14F-4D97-AF65-F5344CB8AC3E}">
        <p14:creationId xmlns:p14="http://schemas.microsoft.com/office/powerpoint/2010/main" val="3988848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9" name="Rectangle 38">
            <a:extLst>
              <a:ext uri="{FF2B5EF4-FFF2-40B4-BE49-F238E27FC236}">
                <a16:creationId xmlns:a16="http://schemas.microsoft.com/office/drawing/2014/main" id="{F4C0B10B-D2C4-4A54-AFAD-3D27DF88BB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6BADB90-C74B-40D6-86DC-503F65FCE8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09710" y="635715"/>
            <a:ext cx="11142208" cy="2482136"/>
            <a:chOff x="409710" y="635715"/>
            <a:chExt cx="11142208" cy="2482136"/>
          </a:xfrm>
        </p:grpSpPr>
        <p:sp>
          <p:nvSpPr>
            <p:cNvPr id="42" name="Freeform 44">
              <a:extLst>
                <a:ext uri="{FF2B5EF4-FFF2-40B4-BE49-F238E27FC236}">
                  <a16:creationId xmlns:a16="http://schemas.microsoft.com/office/drawing/2014/main" id="{6559431D-1886-4AE0-9B87-9AD2ECAB84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23203" y="635716"/>
              <a:ext cx="328612" cy="1742360"/>
            </a:xfrm>
            <a:custGeom>
              <a:avLst/>
              <a:gdLst>
                <a:gd name="T0" fmla="*/ 207 w 207"/>
                <a:gd name="T1" fmla="*/ 987 h 1114"/>
                <a:gd name="T2" fmla="*/ 0 w 207"/>
                <a:gd name="T3" fmla="*/ 1114 h 1114"/>
                <a:gd name="T4" fmla="*/ 0 w 207"/>
                <a:gd name="T5" fmla="*/ 127 h 1114"/>
                <a:gd name="T6" fmla="*/ 207 w 207"/>
                <a:gd name="T7" fmla="*/ 0 h 1114"/>
                <a:gd name="T8" fmla="*/ 207 w 207"/>
                <a:gd name="T9" fmla="*/ 987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114">
                  <a:moveTo>
                    <a:pt x="207" y="987"/>
                  </a:moveTo>
                  <a:lnTo>
                    <a:pt x="0" y="1114"/>
                  </a:lnTo>
                  <a:lnTo>
                    <a:pt x="0" y="127"/>
                  </a:lnTo>
                  <a:lnTo>
                    <a:pt x="207" y="0"/>
                  </a:lnTo>
                  <a:lnTo>
                    <a:pt x="207" y="987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5">
              <a:extLst>
                <a:ext uri="{FF2B5EF4-FFF2-40B4-BE49-F238E27FC236}">
                  <a16:creationId xmlns:a16="http://schemas.microsoft.com/office/drawing/2014/main" id="{373850A5-B04A-4FCD-9E73-EE322167FB3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09710" y="1022350"/>
              <a:ext cx="709612" cy="2095501"/>
            </a:xfrm>
            <a:custGeom>
              <a:avLst/>
              <a:gdLst>
                <a:gd name="T0" fmla="*/ 447 w 447"/>
                <a:gd name="T1" fmla="*/ 1363 h 1363"/>
                <a:gd name="T2" fmla="*/ 0 w 447"/>
                <a:gd name="T3" fmla="*/ 987 h 1363"/>
                <a:gd name="T4" fmla="*/ 0 w 447"/>
                <a:gd name="T5" fmla="*/ 0 h 1363"/>
                <a:gd name="T6" fmla="*/ 447 w 447"/>
                <a:gd name="T7" fmla="*/ 376 h 1363"/>
                <a:gd name="T8" fmla="*/ 447 w 447"/>
                <a:gd name="T9" fmla="*/ 1363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1363">
                  <a:moveTo>
                    <a:pt x="447" y="1363"/>
                  </a:moveTo>
                  <a:lnTo>
                    <a:pt x="0" y="987"/>
                  </a:lnTo>
                  <a:lnTo>
                    <a:pt x="0" y="0"/>
                  </a:lnTo>
                  <a:lnTo>
                    <a:pt x="447" y="376"/>
                  </a:lnTo>
                  <a:lnTo>
                    <a:pt x="447" y="1363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6">
              <a:extLst>
                <a:ext uri="{FF2B5EF4-FFF2-40B4-BE49-F238E27FC236}">
                  <a16:creationId xmlns:a16="http://schemas.microsoft.com/office/drawing/2014/main" id="{82C18C67-80FA-4738-AA53-0AF2419F98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09710" y="837744"/>
              <a:ext cx="403225" cy="1705431"/>
            </a:xfrm>
            <a:custGeom>
              <a:avLst/>
              <a:gdLst>
                <a:gd name="T0" fmla="*/ 254 w 254"/>
                <a:gd name="T1" fmla="*/ 987 h 1109"/>
                <a:gd name="T2" fmla="*/ 0 w 254"/>
                <a:gd name="T3" fmla="*/ 1109 h 1109"/>
                <a:gd name="T4" fmla="*/ 0 w 254"/>
                <a:gd name="T5" fmla="*/ 119 h 1109"/>
                <a:gd name="T6" fmla="*/ 254 w 254"/>
                <a:gd name="T7" fmla="*/ 0 h 1109"/>
                <a:gd name="T8" fmla="*/ 254 w 254"/>
                <a:gd name="T9" fmla="*/ 987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1109">
                  <a:moveTo>
                    <a:pt x="254" y="987"/>
                  </a:moveTo>
                  <a:lnTo>
                    <a:pt x="0" y="1109"/>
                  </a:lnTo>
                  <a:lnTo>
                    <a:pt x="0" y="119"/>
                  </a:lnTo>
                  <a:lnTo>
                    <a:pt x="254" y="0"/>
                  </a:lnTo>
                  <a:lnTo>
                    <a:pt x="254" y="98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7">
              <a:extLst>
                <a:ext uri="{FF2B5EF4-FFF2-40B4-BE49-F238E27FC236}">
                  <a16:creationId xmlns:a16="http://schemas.microsoft.com/office/drawing/2014/main" id="{48543B1A-8BF5-4C63-8404-41B2EA70B3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44660" y="640894"/>
              <a:ext cx="168275" cy="1713195"/>
            </a:xfrm>
            <a:custGeom>
              <a:avLst/>
              <a:gdLst>
                <a:gd name="T0" fmla="*/ 106 w 106"/>
                <a:gd name="T1" fmla="*/ 1114 h 1114"/>
                <a:gd name="T2" fmla="*/ 0 w 106"/>
                <a:gd name="T3" fmla="*/ 1005 h 1114"/>
                <a:gd name="T4" fmla="*/ 0 w 106"/>
                <a:gd name="T5" fmla="*/ 0 h 1114"/>
                <a:gd name="T6" fmla="*/ 106 w 106"/>
                <a:gd name="T7" fmla="*/ 110 h 1114"/>
                <a:gd name="T8" fmla="*/ 106 w 106"/>
                <a:gd name="T9" fmla="*/ 1114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114">
                  <a:moveTo>
                    <a:pt x="106" y="1114"/>
                  </a:moveTo>
                  <a:lnTo>
                    <a:pt x="0" y="1005"/>
                  </a:lnTo>
                  <a:lnTo>
                    <a:pt x="0" y="0"/>
                  </a:lnTo>
                  <a:lnTo>
                    <a:pt x="106" y="110"/>
                  </a:lnTo>
                  <a:lnTo>
                    <a:pt x="106" y="111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5">
              <a:extLst>
                <a:ext uri="{FF2B5EF4-FFF2-40B4-BE49-F238E27FC236}">
                  <a16:creationId xmlns:a16="http://schemas.microsoft.com/office/drawing/2014/main" id="{92DF5096-E051-498C-A3ED-CBA77A813AA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44055" y="635715"/>
              <a:ext cx="10907863" cy="154145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C8D258A-FD13-4F2A-BEA4-EF25A8682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7280" y="759805"/>
            <a:ext cx="1030652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Why a Digital Health Center of Excellence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B2AD41-DF29-44F6-B052-F61F083ACF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22645" y="2494450"/>
            <a:ext cx="5611292" cy="3727835"/>
          </a:xfrm>
        </p:spPr>
        <p:txBody>
          <a:bodyPr vert="horz" lIns="91440" tIns="45720" rIns="91440" bIns="45720" rtlCol="0" anchor="ctr" anchorCtr="0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200" dirty="0"/>
              <a:t>Part of the planned evolution of the digital health program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400" dirty="0"/>
              <a:t>Intent to 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2200" dirty="0"/>
              <a:t>Drive synergy for digital health efforts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2200" dirty="0"/>
              <a:t>Align strategy with implementation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2200" dirty="0"/>
              <a:t>Prepare the FDA for the digital health futu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E01A2E-2950-466D-B7E1-952B97B17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07624" y="6382512"/>
            <a:ext cx="685800" cy="32004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E5331C20-F7A4-6949-92AB-1CD413AE5F4B}" type="slidenum">
              <a:rPr lang="en-US" sz="100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4</a:t>
            </a:fld>
            <a:endParaRPr lang="en-US" sz="100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2050" name="Picture 2" descr="Image of a sprout coming out of an acorn">
            <a:extLst>
              <a:ext uri="{FF2B5EF4-FFF2-40B4-BE49-F238E27FC236}">
                <a16:creationId xmlns:a16="http://schemas.microsoft.com/office/drawing/2014/main" id="{D037823D-97ED-42A6-8140-9F82C48562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52" y="2070100"/>
            <a:ext cx="3209503" cy="4288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72719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A picture containing fruit&#10;&#10;Description automatically generated">
            <a:extLst>
              <a:ext uri="{FF2B5EF4-FFF2-40B4-BE49-F238E27FC236}">
                <a16:creationId xmlns:a16="http://schemas.microsoft.com/office/drawing/2014/main" id="{86AFBE72-DB69-491F-832F-1D2140D718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96" y="670436"/>
            <a:ext cx="6020356" cy="5517128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8E84DB61-DE7B-4443-8354-2D6597F6A278}"/>
              </a:ext>
            </a:extLst>
          </p:cNvPr>
          <p:cNvGrpSpPr/>
          <p:nvPr/>
        </p:nvGrpSpPr>
        <p:grpSpPr>
          <a:xfrm>
            <a:off x="205643" y="1746350"/>
            <a:ext cx="5385724" cy="4297680"/>
            <a:chOff x="6314440" y="1495213"/>
            <a:chExt cx="5385724" cy="4297680"/>
          </a:xfrm>
          <a:solidFill>
            <a:schemeClr val="bg1"/>
          </a:solidFill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D966308-AABA-4797-BA6B-59D6D5206029}"/>
                </a:ext>
              </a:extLst>
            </p:cNvPr>
            <p:cNvGrpSpPr/>
            <p:nvPr/>
          </p:nvGrpSpPr>
          <p:grpSpPr>
            <a:xfrm>
              <a:off x="6314440" y="1495213"/>
              <a:ext cx="5385724" cy="4297680"/>
              <a:chOff x="6314440" y="1495213"/>
              <a:chExt cx="4876800" cy="4876800"/>
            </a:xfrm>
            <a:grpFill/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700B2B3D-178F-47DE-A7BA-DB8BC3E2B5FF}"/>
                  </a:ext>
                </a:extLst>
              </p:cNvPr>
              <p:cNvSpPr/>
              <p:nvPr/>
            </p:nvSpPr>
            <p:spPr>
              <a:xfrm>
                <a:off x="7533640" y="1495213"/>
                <a:ext cx="2438400" cy="2438400"/>
              </a:xfrm>
              <a:custGeom>
                <a:avLst/>
                <a:gdLst>
                  <a:gd name="connsiteX0" fmla="*/ 0 w 2438400"/>
                  <a:gd name="connsiteY0" fmla="*/ 2438400 h 2438400"/>
                  <a:gd name="connsiteX1" fmla="*/ 1219200 w 2438400"/>
                  <a:gd name="connsiteY1" fmla="*/ 0 h 2438400"/>
                  <a:gd name="connsiteX2" fmla="*/ 2438400 w 2438400"/>
                  <a:gd name="connsiteY2" fmla="*/ 2438400 h 2438400"/>
                  <a:gd name="connsiteX3" fmla="*/ 0 w 2438400"/>
                  <a:gd name="connsiteY3" fmla="*/ 2438400 h 2438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8400" h="2438400">
                    <a:moveTo>
                      <a:pt x="0" y="2438400"/>
                    </a:moveTo>
                    <a:lnTo>
                      <a:pt x="1219200" y="0"/>
                    </a:lnTo>
                    <a:lnTo>
                      <a:pt x="2438400" y="2438400"/>
                    </a:lnTo>
                    <a:lnTo>
                      <a:pt x="0" y="243840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78180" tIns="1287780" rIns="6781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800" kern="1200" dirty="0"/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8BFCDD9F-11A1-495E-AB87-29AFD106B435}"/>
                  </a:ext>
                </a:extLst>
              </p:cNvPr>
              <p:cNvSpPr/>
              <p:nvPr/>
            </p:nvSpPr>
            <p:spPr>
              <a:xfrm>
                <a:off x="6314440" y="3933613"/>
                <a:ext cx="2438400" cy="2438400"/>
              </a:xfrm>
              <a:custGeom>
                <a:avLst/>
                <a:gdLst>
                  <a:gd name="connsiteX0" fmla="*/ 0 w 2438400"/>
                  <a:gd name="connsiteY0" fmla="*/ 2438400 h 2438400"/>
                  <a:gd name="connsiteX1" fmla="*/ 1219200 w 2438400"/>
                  <a:gd name="connsiteY1" fmla="*/ 0 h 2438400"/>
                  <a:gd name="connsiteX2" fmla="*/ 2438400 w 2438400"/>
                  <a:gd name="connsiteY2" fmla="*/ 2438400 h 2438400"/>
                  <a:gd name="connsiteX3" fmla="*/ 0 w 2438400"/>
                  <a:gd name="connsiteY3" fmla="*/ 2438400 h 2438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8400" h="2438400">
                    <a:moveTo>
                      <a:pt x="0" y="2438400"/>
                    </a:moveTo>
                    <a:lnTo>
                      <a:pt x="1219200" y="0"/>
                    </a:lnTo>
                    <a:lnTo>
                      <a:pt x="2438400" y="2438400"/>
                    </a:lnTo>
                    <a:lnTo>
                      <a:pt x="0" y="243840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78180" tIns="1287780" rIns="6781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800" kern="1200" dirty="0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A2656C3A-9432-41C2-8484-32770A649DA0}"/>
                  </a:ext>
                </a:extLst>
              </p:cNvPr>
              <p:cNvSpPr/>
              <p:nvPr/>
            </p:nvSpPr>
            <p:spPr>
              <a:xfrm rot="21600000">
                <a:off x="7533640" y="3933612"/>
                <a:ext cx="2438400" cy="2438401"/>
              </a:xfrm>
              <a:custGeom>
                <a:avLst/>
                <a:gdLst>
                  <a:gd name="connsiteX0" fmla="*/ 0 w 2438400"/>
                  <a:gd name="connsiteY0" fmla="*/ 2438400 h 2438400"/>
                  <a:gd name="connsiteX1" fmla="*/ 1219200 w 2438400"/>
                  <a:gd name="connsiteY1" fmla="*/ 0 h 2438400"/>
                  <a:gd name="connsiteX2" fmla="*/ 2438400 w 2438400"/>
                  <a:gd name="connsiteY2" fmla="*/ 2438400 h 2438400"/>
                  <a:gd name="connsiteX3" fmla="*/ 0 w 2438400"/>
                  <a:gd name="connsiteY3" fmla="*/ 2438400 h 2438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8400" h="2438400">
                    <a:moveTo>
                      <a:pt x="2438400" y="0"/>
                    </a:moveTo>
                    <a:lnTo>
                      <a:pt x="1219200" y="2438400"/>
                    </a:lnTo>
                    <a:lnTo>
                      <a:pt x="0" y="0"/>
                    </a:lnTo>
                    <a:lnTo>
                      <a:pt x="243840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78180" tIns="68581" rIns="678180" bIns="12877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800" kern="1200" dirty="0"/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D4C439F2-1BC5-46DE-A11E-96D3CD85496F}"/>
                  </a:ext>
                </a:extLst>
              </p:cNvPr>
              <p:cNvSpPr/>
              <p:nvPr/>
            </p:nvSpPr>
            <p:spPr>
              <a:xfrm>
                <a:off x="8752840" y="3933613"/>
                <a:ext cx="2438400" cy="2438400"/>
              </a:xfrm>
              <a:custGeom>
                <a:avLst/>
                <a:gdLst>
                  <a:gd name="connsiteX0" fmla="*/ 0 w 2438400"/>
                  <a:gd name="connsiteY0" fmla="*/ 2438400 h 2438400"/>
                  <a:gd name="connsiteX1" fmla="*/ 1219200 w 2438400"/>
                  <a:gd name="connsiteY1" fmla="*/ 0 h 2438400"/>
                  <a:gd name="connsiteX2" fmla="*/ 2438400 w 2438400"/>
                  <a:gd name="connsiteY2" fmla="*/ 2438400 h 2438400"/>
                  <a:gd name="connsiteX3" fmla="*/ 0 w 2438400"/>
                  <a:gd name="connsiteY3" fmla="*/ 2438400 h 2438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8400" h="2438400">
                    <a:moveTo>
                      <a:pt x="0" y="2438400"/>
                    </a:moveTo>
                    <a:lnTo>
                      <a:pt x="1219200" y="0"/>
                    </a:lnTo>
                    <a:lnTo>
                      <a:pt x="2438400" y="2438400"/>
                    </a:lnTo>
                    <a:lnTo>
                      <a:pt x="0" y="243840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78180" tIns="1287780" rIns="6781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800" kern="1200" dirty="0"/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427CF4A-3506-4450-8BCB-58EBA7299399}"/>
                </a:ext>
              </a:extLst>
            </p:cNvPr>
            <p:cNvSpPr txBox="1"/>
            <p:nvPr/>
          </p:nvSpPr>
          <p:spPr>
            <a:xfrm>
              <a:off x="8282147" y="2737152"/>
              <a:ext cx="1454927" cy="83099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 dirty="0">
                  <a:solidFill>
                    <a:schemeClr val="bg1"/>
                  </a:solidFill>
                </a:rPr>
                <a:t>Develop novel, efficient regulatory approaches that are least burdensom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230F30E-444B-48BB-AB94-A302C4B0EBD5}"/>
                </a:ext>
              </a:extLst>
            </p:cNvPr>
            <p:cNvSpPr txBox="1"/>
            <p:nvPr/>
          </p:nvSpPr>
          <p:spPr>
            <a:xfrm>
              <a:off x="7215287" y="4697648"/>
              <a:ext cx="963725" cy="369332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Connect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B00B850-712E-4150-AEDC-59FFBF1591E6}"/>
                </a:ext>
              </a:extLst>
            </p:cNvPr>
            <p:cNvSpPr txBox="1"/>
            <p:nvPr/>
          </p:nvSpPr>
          <p:spPr>
            <a:xfrm>
              <a:off x="6990814" y="4995180"/>
              <a:ext cx="1454927" cy="64633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 dirty="0">
                  <a:solidFill>
                    <a:schemeClr val="bg1"/>
                  </a:solidFill>
                </a:rPr>
                <a:t>Build partnerships, new networks to accelerate and scal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898CD78-0CC9-424B-AE6D-9F269AF8C172}"/>
                </a:ext>
              </a:extLst>
            </p:cNvPr>
            <p:cNvSpPr txBox="1"/>
            <p:nvPr/>
          </p:nvSpPr>
          <p:spPr>
            <a:xfrm>
              <a:off x="9983795" y="4625848"/>
              <a:ext cx="715452" cy="369332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Shar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D18B598-5DAD-465A-9DEF-8119BEA6A5FB}"/>
                </a:ext>
              </a:extLst>
            </p:cNvPr>
            <p:cNvSpPr txBox="1"/>
            <p:nvPr/>
          </p:nvSpPr>
          <p:spPr>
            <a:xfrm>
              <a:off x="9631019" y="4924259"/>
              <a:ext cx="1454927" cy="83099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 dirty="0">
                  <a:solidFill>
                    <a:schemeClr val="bg1"/>
                  </a:solidFill>
                </a:rPr>
                <a:t>Gather, simplify, and share information to increase awareness and understanding </a:t>
              </a:r>
            </a:p>
          </p:txBody>
        </p:sp>
        <p:pic>
          <p:nvPicPr>
            <p:cNvPr id="22" name="Graphic 21" descr="Lightbulb and gear">
              <a:extLst>
                <a:ext uri="{FF2B5EF4-FFF2-40B4-BE49-F238E27FC236}">
                  <a16:creationId xmlns:a16="http://schemas.microsoft.com/office/drawing/2014/main" id="{A5DC9643-5EA1-4B34-843E-CF9A17B57C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87262" y="1799539"/>
              <a:ext cx="640080" cy="640080"/>
            </a:xfrm>
            <a:prstGeom prst="rect">
              <a:avLst/>
            </a:prstGeom>
          </p:spPr>
        </p:pic>
        <p:pic>
          <p:nvPicPr>
            <p:cNvPr id="24" name="Graphic 23" descr="Connections">
              <a:extLst>
                <a:ext uri="{FF2B5EF4-FFF2-40B4-BE49-F238E27FC236}">
                  <a16:creationId xmlns:a16="http://schemas.microsoft.com/office/drawing/2014/main" id="{7C3D9384-FE16-435B-A26C-6F21E48FBC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264115" y="4112278"/>
              <a:ext cx="731520" cy="731520"/>
            </a:xfrm>
            <a:prstGeom prst="rect">
              <a:avLst/>
            </a:prstGeom>
          </p:spPr>
        </p:pic>
        <p:pic>
          <p:nvPicPr>
            <p:cNvPr id="26" name="Graphic 25" descr="Head with gears">
              <a:extLst>
                <a:ext uri="{FF2B5EF4-FFF2-40B4-BE49-F238E27FC236}">
                  <a16:creationId xmlns:a16="http://schemas.microsoft.com/office/drawing/2014/main" id="{B965DCF2-3BD1-4F38-8C9F-5486A00F55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0000">
              <a:off x="9872905" y="4217999"/>
              <a:ext cx="462833" cy="462833"/>
            </a:xfrm>
            <a:prstGeom prst="rect">
              <a:avLst/>
            </a:prstGeom>
          </p:spPr>
        </p:pic>
        <p:pic>
          <p:nvPicPr>
            <p:cNvPr id="51" name="Graphic 50" descr="Head with gears">
              <a:extLst>
                <a:ext uri="{FF2B5EF4-FFF2-40B4-BE49-F238E27FC236}">
                  <a16:creationId xmlns:a16="http://schemas.microsoft.com/office/drawing/2014/main" id="{1DCC6E76-9CC4-4CA8-8493-4D475FEBFD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20700000" flipH="1">
              <a:off x="10235204" y="4208673"/>
              <a:ext cx="534894" cy="462833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01A0EC46-0E5C-4617-B8BE-B65FA5DBF573}"/>
              </a:ext>
            </a:extLst>
          </p:cNvPr>
          <p:cNvSpPr/>
          <p:nvPr/>
        </p:nvSpPr>
        <p:spPr>
          <a:xfrm>
            <a:off x="412208" y="1888718"/>
            <a:ext cx="6096000" cy="375552"/>
          </a:xfrm>
          <a:prstGeom prst="rect">
            <a:avLst/>
          </a:prstGeom>
        </p:spPr>
        <p:txBody>
          <a:bodyPr>
            <a:spAutoFit/>
          </a:bodyPr>
          <a:lstStyle/>
          <a:p>
            <a:pPr marL="1085850" marR="10858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A7F299-A7EA-42BA-BE4B-68079C334470}"/>
              </a:ext>
            </a:extLst>
          </p:cNvPr>
          <p:cNvSpPr/>
          <p:nvPr/>
        </p:nvSpPr>
        <p:spPr>
          <a:xfrm>
            <a:off x="479332" y="1786383"/>
            <a:ext cx="6096000" cy="4148508"/>
          </a:xfrm>
          <a:prstGeom prst="rect">
            <a:avLst/>
          </a:prstGeom>
        </p:spPr>
        <p:txBody>
          <a:bodyPr>
            <a:spAutoFit/>
          </a:bodyPr>
          <a:lstStyle/>
          <a:p>
            <a:pPr marR="1085850">
              <a:lnSpc>
                <a:spcPct val="107000"/>
              </a:lnSpc>
              <a:spcAft>
                <a:spcPts val="800"/>
              </a:spcAft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r goal: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power stakeholders to advance health care by fostering responsible and high-quality digital health innovation.</a:t>
            </a:r>
          </a:p>
          <a:p>
            <a:pPr marR="1085850">
              <a:lnSpc>
                <a:spcPct val="107000"/>
              </a:lnSpc>
              <a:spcAft>
                <a:spcPts val="800"/>
              </a:spcAft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1085850">
              <a:lnSpc>
                <a:spcPct val="107000"/>
              </a:lnSpc>
              <a:spcAft>
                <a:spcPts val="800"/>
              </a:spcAft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Digital Health Center of Excellence aims to:</a:t>
            </a:r>
          </a:p>
          <a:p>
            <a:pPr marL="342900" marR="108585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nect and build partnerships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accelerate digital health advancements.</a:t>
            </a:r>
          </a:p>
          <a:p>
            <a:pPr marL="342900" marR="108585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are knowledge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increase awareness and understanding, drive synergy,</a:t>
            </a: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advance best practices.</a:t>
            </a:r>
          </a:p>
          <a:p>
            <a:pPr marL="342900" marR="108585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novate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ulatory approaches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provide efficient and least burdensome oversight</a:t>
            </a: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54E929A-4899-4AEA-8CDA-38104F673139}"/>
              </a:ext>
            </a:extLst>
          </p:cNvPr>
          <p:cNvGrpSpPr/>
          <p:nvPr/>
        </p:nvGrpSpPr>
        <p:grpSpPr>
          <a:xfrm>
            <a:off x="316362" y="466143"/>
            <a:ext cx="5973544" cy="1128823"/>
            <a:chOff x="1349901" y="1900791"/>
            <a:chExt cx="4537684" cy="81922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A4C475F-4F87-4B54-8B02-C2B1D0CAD722}"/>
                </a:ext>
              </a:extLst>
            </p:cNvPr>
            <p:cNvSpPr/>
            <p:nvPr/>
          </p:nvSpPr>
          <p:spPr>
            <a:xfrm>
              <a:off x="2369632" y="2033275"/>
              <a:ext cx="3517953" cy="3797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b="1" spc="-150" dirty="0">
                  <a:solidFill>
                    <a:srgbClr val="0070C0"/>
                  </a:solidFill>
                </a:rPr>
                <a:t>Digital Health Center of Excellenc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BADC836-9BF8-4482-83B1-BE68E1A2AFC6}"/>
                </a:ext>
              </a:extLst>
            </p:cNvPr>
            <p:cNvSpPr/>
            <p:nvPr/>
          </p:nvSpPr>
          <p:spPr>
            <a:xfrm>
              <a:off x="1349901" y="1900791"/>
              <a:ext cx="1454711" cy="5584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4400" b="1" dirty="0">
                  <a:solidFill>
                    <a:srgbClr val="0070C0"/>
                  </a:solidFill>
                </a:rPr>
                <a:t>FDA’s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6EA21F2E-1963-4A7A-8C94-2D713E8C04F8}"/>
                </a:ext>
              </a:extLst>
            </p:cNvPr>
            <p:cNvCxnSpPr>
              <a:cxnSpLocks/>
            </p:cNvCxnSpPr>
            <p:nvPr/>
          </p:nvCxnSpPr>
          <p:spPr>
            <a:xfrm>
              <a:off x="1513382" y="2384967"/>
              <a:ext cx="4226906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D16E1B0-3299-43E8-A179-2BCEC8596773}"/>
                </a:ext>
              </a:extLst>
            </p:cNvPr>
            <p:cNvSpPr/>
            <p:nvPr/>
          </p:nvSpPr>
          <p:spPr>
            <a:xfrm>
              <a:off x="1478830" y="2384967"/>
              <a:ext cx="3963529" cy="3350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b="1" i="1" dirty="0">
                  <a:ln w="3175">
                    <a:noFill/>
                  </a:ln>
                  <a:solidFill>
                    <a:schemeClr val="accent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mpowering All to Advance Healthc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8047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9C73B3-BB53-4A58-8FE1-92ECA02E1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4000" dirty="0">
                <a:solidFill>
                  <a:srgbClr val="3A96D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ticipated Outco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4F7D8E-DBBD-4174-B918-D80504C36BD7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851919" y="1190625"/>
            <a:ext cx="7064446" cy="5092700"/>
          </a:xfrm>
        </p:spPr>
        <p:txBody>
          <a:bodyPr>
            <a:normAutofit fontScale="92500" lnSpcReduction="10000"/>
          </a:bodyPr>
          <a:lstStyle/>
          <a:p>
            <a:pPr lvl="0">
              <a:spcAft>
                <a:spcPts val="600"/>
              </a:spcAft>
            </a:pPr>
            <a:r>
              <a:rPr lang="en-US" sz="2400" dirty="0"/>
              <a:t>Strategically advance science and evidence for digital health technologies that meets the needs of stakeholders.</a:t>
            </a:r>
          </a:p>
          <a:p>
            <a:pPr lvl="0">
              <a:spcAft>
                <a:spcPts val="600"/>
              </a:spcAft>
            </a:pPr>
            <a:r>
              <a:rPr lang="en-US" sz="2400" dirty="0"/>
              <a:t>Efficient access to a highly specialized expertise, knowledge, and tools to accelerate access to digital health technology.</a:t>
            </a:r>
          </a:p>
          <a:p>
            <a:pPr lvl="0">
              <a:spcAft>
                <a:spcPts val="600"/>
              </a:spcAft>
            </a:pPr>
            <a:r>
              <a:rPr lang="en-US" sz="2400" dirty="0"/>
              <a:t>Aligned regulatory approach to harmonize international regulatory expectations and industry standards.</a:t>
            </a:r>
          </a:p>
          <a:p>
            <a:pPr lvl="0">
              <a:spcAft>
                <a:spcPts val="600"/>
              </a:spcAft>
            </a:pPr>
            <a:r>
              <a:rPr lang="en-US" sz="2400" dirty="0"/>
              <a:t>Increased awareness and understanding of digital health trends.</a:t>
            </a:r>
          </a:p>
          <a:p>
            <a:pPr lvl="0">
              <a:spcAft>
                <a:spcPts val="600"/>
              </a:spcAft>
            </a:pPr>
            <a:r>
              <a:rPr lang="en-US" sz="2400" dirty="0"/>
              <a:t>Consistent application of digital health technology policy and oversight approaches.</a:t>
            </a:r>
          </a:p>
          <a:p>
            <a:pPr lvl="0">
              <a:spcAft>
                <a:spcPts val="600"/>
              </a:spcAft>
            </a:pPr>
            <a:r>
              <a:rPr lang="en-US" sz="2400" dirty="0"/>
              <a:t>Reimagined medical device regulatory paradigm tailored for digital health technologies. </a:t>
            </a:r>
          </a:p>
        </p:txBody>
      </p:sp>
      <p:pic>
        <p:nvPicPr>
          <p:cNvPr id="4" name="Picture 3" descr="Image of a triangle with “empower” in the center. The three points of the triangle read from top going clockwise: Innovate, connect, and share.">
            <a:extLst>
              <a:ext uri="{FF2B5EF4-FFF2-40B4-BE49-F238E27FC236}">
                <a16:creationId xmlns:a16="http://schemas.microsoft.com/office/drawing/2014/main" id="{3CCDDB6A-9DEA-4630-9340-C2C6A8998A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635" y="1555042"/>
            <a:ext cx="4302098" cy="3917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267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EF76B4-0388-446F-9533-7E3AB97AF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05" y="186311"/>
            <a:ext cx="10340280" cy="710942"/>
          </a:xfrm>
        </p:spPr>
        <p:txBody>
          <a:bodyPr>
            <a:normAutofit/>
          </a:bodyPr>
          <a:lstStyle/>
          <a:p>
            <a:pPr algn="l"/>
            <a:r>
              <a:rPr lang="en-US" sz="3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HCoE Functional Area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5F88C5-C8C8-4D22-8578-0C9ACD7308D7}"/>
              </a:ext>
            </a:extLst>
          </p:cNvPr>
          <p:cNvSpPr/>
          <p:nvPr/>
        </p:nvSpPr>
        <p:spPr>
          <a:xfrm>
            <a:off x="5917545" y="186311"/>
            <a:ext cx="485261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ted by Digital Health Center of Excellenc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dicated functions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rtual functions 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DBC290F-72AA-4FC2-8903-9E2A875AF9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6579429"/>
              </p:ext>
            </p:extLst>
          </p:nvPr>
        </p:nvGraphicFramePr>
        <p:xfrm>
          <a:off x="426705" y="985581"/>
          <a:ext cx="5379602" cy="54550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6" name="Diagram 85">
            <a:extLst>
              <a:ext uri="{FF2B5EF4-FFF2-40B4-BE49-F238E27FC236}">
                <a16:creationId xmlns:a16="http://schemas.microsoft.com/office/drawing/2014/main" id="{1807D991-8CB2-4EC4-A4F8-53688E7126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7606128"/>
              </p:ext>
            </p:extLst>
          </p:nvPr>
        </p:nvGraphicFramePr>
        <p:xfrm>
          <a:off x="6096000" y="985580"/>
          <a:ext cx="5379602" cy="54550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8E1CC9E8-EE59-4411-9D40-B69A1A4EE51B}"/>
                  </a:ext>
                </a:extLst>
              </p14:cNvPr>
              <p14:cNvContentPartPr/>
              <p14:nvPr/>
            </p14:nvContentPartPr>
            <p14:xfrm>
              <a:off x="11655373" y="6523813"/>
              <a:ext cx="245880" cy="5904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8E1CC9E8-EE59-4411-9D40-B69A1A4EE51B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1592733" y="6460813"/>
                <a:ext cx="371520" cy="184680"/>
              </a:xfrm>
              <a:prstGeom prst="rect">
                <a:avLst/>
              </a:prstGeom>
            </p:spPr>
          </p:pic>
        </mc:Fallback>
      </mc:AlternateContent>
      <p:pic>
        <p:nvPicPr>
          <p:cNvPr id="7" name="Picture 6">
            <a:extLst>
              <a:ext uri="{FF2B5EF4-FFF2-40B4-BE49-F238E27FC236}">
                <a16:creationId xmlns:a16="http://schemas.microsoft.com/office/drawing/2014/main" id="{800430B1-6BF0-45A2-8C66-3E9EBA7A1206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23100" t="8896" r="17012" b="19542"/>
          <a:stretch/>
        </p:blipFill>
        <p:spPr>
          <a:xfrm>
            <a:off x="10837333" y="259644"/>
            <a:ext cx="846668" cy="778934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ED87B78-53FF-42A5-8FE2-8745CD9D2606}"/>
              </a:ext>
            </a:extLst>
          </p:cNvPr>
          <p:cNvSpPr txBox="1">
            <a:spLocks/>
          </p:cNvSpPr>
          <p:nvPr/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85822-B29A-4769-B524-25974A32197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562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B49248-C999-436D-A5D1-CCBB1B628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4000" dirty="0">
                <a:solidFill>
                  <a:srgbClr val="3A96D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HCoE Services</a:t>
            </a:r>
          </a:p>
        </p:txBody>
      </p:sp>
      <p:pic>
        <p:nvPicPr>
          <p:cNvPr id="6" name="Picture 5" descr="Three notes with tabs. First note says &quot;External to FDA- Partner/Coordinate/Voice&quot;&#10;Second note says &quot;FDA - Wide- Support/Align/Promote/Amplify&quot;&#10;Third note says &quot;CDRH Specific- Lead/Build/Coordinate&quot;">
            <a:extLst>
              <a:ext uri="{FF2B5EF4-FFF2-40B4-BE49-F238E27FC236}">
                <a16:creationId xmlns:a16="http://schemas.microsoft.com/office/drawing/2014/main" id="{6A54FD22-5704-41D8-BBE2-889FE7E2F5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774" y="1202317"/>
            <a:ext cx="8920452" cy="5017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167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B49248-C999-436D-A5D1-CCBB1B628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4000" dirty="0">
                <a:solidFill>
                  <a:srgbClr val="3A96D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HCoE Services</a:t>
            </a:r>
          </a:p>
        </p:txBody>
      </p:sp>
      <p:pic>
        <p:nvPicPr>
          <p:cNvPr id="6" name="Picture 5" descr="Note with tab. The note says &quot;External to FDA- Partner/Coordinate/Voice&quot;&#10;">
            <a:extLst>
              <a:ext uri="{FF2B5EF4-FFF2-40B4-BE49-F238E27FC236}">
                <a16:creationId xmlns:a16="http://schemas.microsoft.com/office/drawing/2014/main" id="{6A54FD22-5704-41D8-BBE2-889FE7E2F5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364"/>
          <a:stretch/>
        </p:blipFill>
        <p:spPr>
          <a:xfrm>
            <a:off x="796517" y="1378856"/>
            <a:ext cx="4941283" cy="731520"/>
          </a:xfrm>
          <a:prstGeom prst="rect">
            <a:avLst/>
          </a:prstGeom>
          <a:ln w="19050">
            <a:solidFill>
              <a:schemeClr val="bg1">
                <a:lumMod val="85000"/>
              </a:schemeClr>
            </a:solidFill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01A59B9-D958-425D-B66C-42A459BB69E0}"/>
              </a:ext>
            </a:extLst>
          </p:cNvPr>
          <p:cNvSpPr/>
          <p:nvPr/>
        </p:nvSpPr>
        <p:spPr>
          <a:xfrm>
            <a:off x="696686" y="2081702"/>
            <a:ext cx="5096208" cy="429768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rovide clarity on regulation</a:t>
            </a:r>
          </a:p>
          <a:p>
            <a:pPr marL="517525" lvl="1" indent="-342900">
              <a:buFont typeface="Wingdings" panose="05000000000000000000" pitchFamily="2" charset="2"/>
              <a:buChar char="ü"/>
            </a:pPr>
            <a:endParaRPr lang="en-US" sz="2000" dirty="0">
              <a:highlight>
                <a:srgbClr val="FFFF00"/>
              </a:highligh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dvance international harmonization on device regulatory policy</a:t>
            </a:r>
          </a:p>
          <a:p>
            <a:pPr marL="517525" lvl="1" indent="-342900">
              <a:buFont typeface="Wingdings" panose="05000000000000000000" pitchFamily="2" charset="2"/>
              <a:buChar char="ü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Facilitate and build strategic partnerships</a:t>
            </a:r>
          </a:p>
          <a:p>
            <a:pPr marL="517525" lvl="1" indent="-342900">
              <a:buFont typeface="Wingdings" panose="05000000000000000000" pitchFamily="2" charset="2"/>
              <a:buChar char="ü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Communicate FDA research interests </a:t>
            </a:r>
          </a:p>
          <a:p>
            <a:pPr marL="517525" lvl="1" indent="-342900">
              <a:buFont typeface="Wingdings" panose="05000000000000000000" pitchFamily="2" charset="2"/>
              <a:buChar char="ü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dvance digital health device international standards</a:t>
            </a:r>
          </a:p>
        </p:txBody>
      </p:sp>
      <p:pic>
        <p:nvPicPr>
          <p:cNvPr id="8" name="Picture 7" descr="Note with tab. &#10;The note says &quot;FDA - Wide- Support/Align/Promote/Amplify&quot;">
            <a:extLst>
              <a:ext uri="{FF2B5EF4-FFF2-40B4-BE49-F238E27FC236}">
                <a16:creationId xmlns:a16="http://schemas.microsoft.com/office/drawing/2014/main" id="{22773DDC-14EE-421E-853A-2636A755B27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97" b="37166"/>
          <a:stretch/>
        </p:blipFill>
        <p:spPr>
          <a:xfrm>
            <a:off x="6143993" y="1348156"/>
            <a:ext cx="4941283" cy="79291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B64B7B3-6467-44A5-B765-A44CEB2510F5}"/>
              </a:ext>
            </a:extLst>
          </p:cNvPr>
          <p:cNvSpPr/>
          <p:nvPr/>
        </p:nvSpPr>
        <p:spPr>
          <a:xfrm>
            <a:off x="6008595" y="2110376"/>
            <a:ext cx="5212080" cy="429768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 DH expertise across the Agency</a:t>
            </a:r>
          </a:p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fer training opportunities for FDA staff</a:t>
            </a:r>
          </a:p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seminate shared resources</a:t>
            </a:r>
          </a:p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ster collaboration across FDA in common interest areas </a:t>
            </a:r>
          </a:p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cilitate synergies in regulatory science research in digital health</a:t>
            </a:r>
          </a:p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rage, share, and avoid duplication of work</a:t>
            </a:r>
          </a:p>
          <a:p>
            <a:pPr marL="517525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mote and showcase existing work at the Centers </a:t>
            </a:r>
          </a:p>
        </p:txBody>
      </p:sp>
    </p:spTree>
    <p:extLst>
      <p:ext uri="{BB962C8B-B14F-4D97-AF65-F5344CB8AC3E}">
        <p14:creationId xmlns:p14="http://schemas.microsoft.com/office/powerpoint/2010/main" val="3442647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2.xml><?xml version="1.0" encoding="utf-8"?>
<a:theme xmlns:a="http://schemas.openxmlformats.org/drawingml/2006/main" name="1_FDA_PP_Final_Use_Thi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FDA_PP_Final_Use_Thi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48F1BF05-6491-49DD-9438-BEA333DBF227}" vid="{9285268A-FB51-4F56-BC0A-118CB7E0D437}"/>
    </a:ext>
  </a:extLst>
</a:theme>
</file>

<file path=ppt/theme/theme5.xml><?xml version="1.0" encoding="utf-8"?>
<a:theme xmlns:a="http://schemas.openxmlformats.org/drawingml/2006/main" name="3_FDA_PP_Final_Use_Thi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48F1BF05-6491-49DD-9438-BEA333DBF227}" vid="{9285268A-FB51-4F56-BC0A-118CB7E0D437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A37E6A841D5D4F922DE3DD54572D8F" ma:contentTypeVersion="6" ma:contentTypeDescription="Create a new document." ma:contentTypeScope="" ma:versionID="e1ae1e459dacd54c05ca42c95de4216b">
  <xsd:schema xmlns:xsd="http://www.w3.org/2001/XMLSchema" xmlns:xs="http://www.w3.org/2001/XMLSchema" xmlns:p="http://schemas.microsoft.com/office/2006/metadata/properties" xmlns:ns2="646ff716-317f-4d17-99f6-13560b40cad2" xmlns:ns3="http://schemas.microsoft.com/sharepoint/v3/fields" xmlns:ns4="c593544c-8bc9-488a-9957-4d59a7b3d015" targetNamespace="http://schemas.microsoft.com/office/2006/metadata/properties" ma:root="true" ma:fieldsID="0a583d05b6e4c85608cc944272176128" ns2:_="" ns3:_="" ns4:_="">
    <xsd:import namespace="646ff716-317f-4d17-99f6-13560b40cad2"/>
    <xsd:import namespace="http://schemas.microsoft.com/sharepoint/v3/fields"/>
    <xsd:import namespace="c593544c-8bc9-488a-9957-4d59a7b3d015"/>
    <xsd:element name="properties">
      <xsd:complexType>
        <xsd:sequence>
          <xsd:element name="documentManagement">
            <xsd:complexType>
              <xsd:all>
                <xsd:element ref="ns2:DDHDocStatus" minOccurs="0"/>
                <xsd:element ref="ns2:DDHMetadataCategory" minOccurs="0"/>
                <xsd:element ref="ns2:DDHMetadataSubcategory" minOccurs="0"/>
                <xsd:element ref="ns3:_Version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6ff716-317f-4d17-99f6-13560b40cad2" elementFormDefault="qualified">
    <xsd:import namespace="http://schemas.microsoft.com/office/2006/documentManagement/types"/>
    <xsd:import namespace="http://schemas.microsoft.com/office/infopath/2007/PartnerControls"/>
    <xsd:element name="DDHDocStatus" ma:index="2" nillable="true" ma:displayName="Status" ma:format="Dropdown" ma:internalName="DDHDocStatus">
      <xsd:simpleType>
        <xsd:restriction base="dms:Choice">
          <xsd:enumeration value="Current"/>
          <xsd:enumeration value="Draft"/>
          <xsd:enumeration value="Final"/>
          <xsd:enumeration value="Published"/>
          <xsd:enumeration value="Archive"/>
        </xsd:restriction>
      </xsd:simpleType>
    </xsd:element>
    <xsd:element name="DDHMetadataCategory" ma:index="3" nillable="true" ma:displayName="Category" ma:default="" ma:list="{00ca03ce-5e6f-4467-a51c-7eac530c9104}" ma:internalName="DDHMetadataCategory" ma:showField="Title" ma:web="646ff716-317f-4d17-99f6-13560b40cad2">
      <xsd:simpleType>
        <xsd:restriction base="dms:Lookup"/>
      </xsd:simpleType>
    </xsd:element>
    <xsd:element name="DDHMetadataSubcategory" ma:index="4" nillable="true" ma:displayName="Subcategory" ma:default="" ma:list="{00ca03ce-5e6f-4467-a51c-7eac530c9104}" ma:internalName="DDHMetadataSubcategory" ma:showField="Subcategory" ma:web="646ff716-317f-4d17-99f6-13560b40cad2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5" nillable="true" ma:displayName="Version" ma:internalName="_Vers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3544c-8bc9-488a-9957-4d59a7b3d01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inOccurs="0" maxOccurs="1" ma:index="1" ma:displayName="Title"/>
        <xsd:element ref="dc:subject" minOccurs="0" maxOccurs="1"/>
        <xsd:element ref="dc:description" minOccurs="0" maxOccurs="1" ma:index="6" ma:displayName="Comments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DDHDocStatus xmlns="646ff716-317f-4d17-99f6-13560b40cad2" xsi:nil="true"/>
    <DDHMetadataSubcategory xmlns="646ff716-317f-4d17-99f6-13560b40cad2" xsi:nil="true"/>
    <DDHMetadataCategory xmlns="646ff716-317f-4d17-99f6-13560b40cad2" xsi:nil="true"/>
    <_dlc_DocId xmlns="c593544c-8bc9-488a-9957-4d59a7b3d015">XHP2S3HS3TSE-1427648193-117</_dlc_DocId>
    <_dlc_DocIdUrl xmlns="c593544c-8bc9-488a-9957-4d59a7b3d015">
      <Url>http://sharepoint.fda.gov/orgs/CDRH-DH/DDH-Internal/DHCoE/_layouts/DocIdRedir.aspx?ID=XHP2S3HS3TSE-1427648193-117</Url>
      <Description>XHP2S3HS3TSE-1427648193-117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47F765-F507-4ADC-ACE8-0F5FA004F48A}"/>
</file>

<file path=customXml/itemProps2.xml><?xml version="1.0" encoding="utf-8"?>
<ds:datastoreItem xmlns:ds="http://schemas.openxmlformats.org/officeDocument/2006/customXml" ds:itemID="{F8548591-F38E-41D5-9D58-2A114AB1BCE2}"/>
</file>

<file path=customXml/itemProps3.xml><?xml version="1.0" encoding="utf-8"?>
<ds:datastoreItem xmlns:ds="http://schemas.openxmlformats.org/officeDocument/2006/customXml" ds:itemID="{111AB45D-F136-404F-B427-9DAB09EBC7BE}"/>
</file>

<file path=customXml/itemProps4.xml><?xml version="1.0" encoding="utf-8"?>
<ds:datastoreItem xmlns:ds="http://schemas.openxmlformats.org/officeDocument/2006/customXml" ds:itemID="{F65BFBBE-5DBA-463A-9E3F-6570E169068B}"/>
</file>

<file path=docProps/app.xml><?xml version="1.0" encoding="utf-8"?>
<Properties xmlns="http://schemas.openxmlformats.org/officeDocument/2006/extended-properties" xmlns:vt="http://schemas.openxmlformats.org/officeDocument/2006/docPropsVTypes">
  <TotalTime>27054</TotalTime>
  <Words>1410</Words>
  <Application>Microsoft Office PowerPoint</Application>
  <PresentationFormat>Widescreen</PresentationFormat>
  <Paragraphs>252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2" baseType="lpstr">
      <vt:lpstr>Arial</vt:lpstr>
      <vt:lpstr>Arial Black</vt:lpstr>
      <vt:lpstr>Calibri</vt:lpstr>
      <vt:lpstr>Calibri Light</vt:lpstr>
      <vt:lpstr>Courier New</vt:lpstr>
      <vt:lpstr>Helvetica</vt:lpstr>
      <vt:lpstr>Segoe UI</vt:lpstr>
      <vt:lpstr>Segoe UI Light</vt:lpstr>
      <vt:lpstr>Symbol</vt:lpstr>
      <vt:lpstr>Times New Roman</vt:lpstr>
      <vt:lpstr>Wingdings</vt:lpstr>
      <vt:lpstr>FY15 Enterprise identity theme</vt:lpstr>
      <vt:lpstr>1_FDA_PP_Final_Use_This</vt:lpstr>
      <vt:lpstr>Office Theme</vt:lpstr>
      <vt:lpstr>2_FDA_PP_Final_Use_This</vt:lpstr>
      <vt:lpstr>3_FDA_PP_Final_Use_This</vt:lpstr>
      <vt:lpstr>think-cell Slide</vt:lpstr>
      <vt:lpstr>PowerPoint Presentation</vt:lpstr>
      <vt:lpstr>Digital Health</vt:lpstr>
      <vt:lpstr>Digital Health Technology</vt:lpstr>
      <vt:lpstr>Why a Digital Health Center of Excellence?</vt:lpstr>
      <vt:lpstr>PowerPoint Presentation</vt:lpstr>
      <vt:lpstr>Anticipated Outcomes</vt:lpstr>
      <vt:lpstr>DHCoE Functional Areas</vt:lpstr>
      <vt:lpstr>DHCoE Services</vt:lpstr>
      <vt:lpstr>DHCoE Services</vt:lpstr>
      <vt:lpstr>DHCoE Services</vt:lpstr>
      <vt:lpstr>DHCoE Roadmap</vt:lpstr>
      <vt:lpstr>PowerPoint Presentation</vt:lpstr>
      <vt:lpstr>PowerPoint Presentation</vt:lpstr>
      <vt:lpstr>PowerPoint Presentation</vt:lpstr>
      <vt:lpstr>Further Questions or Feedbac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guyen, Mimi</dc:creator>
  <dc:description/>
  <cp:lastModifiedBy>Patel, Bakul</cp:lastModifiedBy>
  <cp:revision>172</cp:revision>
  <dcterms:created xsi:type="dcterms:W3CDTF">2020-08-19T15:06:39Z</dcterms:created>
  <dcterms:modified xsi:type="dcterms:W3CDTF">2021-02-02T18:4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A37E6A841D5D4F922DE3DD54572D8F</vt:lpwstr>
  </property>
  <property fmtid="{D5CDD505-2E9C-101B-9397-08002B2CF9AE}" pid="3" name="_NewReviewCycle">
    <vt:lpwstr/>
  </property>
  <property fmtid="{D5CDD505-2E9C-101B-9397-08002B2CF9AE}" pid="4" name="_dlc_DocIdItemGuid">
    <vt:lpwstr>b5ae1ffb-874c-493a-9be3-4f8f9b1ce158</vt:lpwstr>
  </property>
</Properties>
</file>